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35" r:id="rId2"/>
    <p:sldId id="345" r:id="rId3"/>
    <p:sldId id="347" r:id="rId4"/>
    <p:sldId id="339" r:id="rId5"/>
    <p:sldId id="341" r:id="rId6"/>
    <p:sldId id="348" r:id="rId7"/>
    <p:sldId id="343" r:id="rId8"/>
  </p:sldIdLst>
  <p:sldSz cx="9144000" cy="6858000" type="screen4x3"/>
  <p:notesSz cx="7099300" cy="10234613"/>
  <p:defaultTextStyle>
    <a:defPPr>
      <a:defRPr lang="en-GB"/>
    </a:defPPr>
    <a:lvl1pPr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4">
          <p15:clr>
            <a:srgbClr val="A4A3A4"/>
          </p15:clr>
        </p15:guide>
        <p15:guide id="2" orient="horz" pos="4201">
          <p15:clr>
            <a:srgbClr val="A4A3A4"/>
          </p15:clr>
        </p15:guide>
        <p15:guide id="3" orient="horz" pos="346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orient="horz" pos="3725">
          <p15:clr>
            <a:srgbClr val="A4A3A4"/>
          </p15:clr>
        </p15:guide>
        <p15:guide id="6" orient="horz" pos="2047">
          <p15:clr>
            <a:srgbClr val="A4A3A4"/>
          </p15:clr>
        </p15:guide>
        <p15:guide id="7" pos="113">
          <p15:clr>
            <a:srgbClr val="A4A3A4"/>
          </p15:clr>
        </p15:guide>
        <p15:guide id="8" pos="5649">
          <p15:clr>
            <a:srgbClr val="A4A3A4"/>
          </p15:clr>
        </p15:guide>
        <p15:guide id="9" pos="442">
          <p15:clr>
            <a:srgbClr val="A4A3A4"/>
          </p15:clr>
        </p15:guide>
        <p15:guide id="10" pos="5317">
          <p15:clr>
            <a:srgbClr val="A4A3A4"/>
          </p15:clr>
        </p15:guide>
        <p15:guide id="11" pos="2724">
          <p15:clr>
            <a:srgbClr val="A4A3A4"/>
          </p15:clr>
        </p15:guide>
        <p15:guide id="12" pos="3036">
          <p15:clr>
            <a:srgbClr val="A4A3A4"/>
          </p15:clr>
        </p15:guide>
        <p15:guide id="13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BAA20"/>
    <a:srgbClr val="7CC4AC"/>
    <a:srgbClr val="00542E"/>
    <a:srgbClr val="031D5C"/>
    <a:srgbClr val="00AAD2"/>
    <a:srgbClr val="5591CD"/>
    <a:srgbClr val="A5005F"/>
    <a:srgbClr val="7050B9"/>
    <a:srgbClr val="F0005F"/>
    <a:srgbClr val="B09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32" autoAdjust="0"/>
    <p:restoredTop sz="63418" autoAdjust="0"/>
  </p:normalViewPr>
  <p:slideViewPr>
    <p:cSldViewPr snapToObjects="1">
      <p:cViewPr varScale="1">
        <p:scale>
          <a:sx n="72" d="100"/>
          <a:sy n="72" d="100"/>
        </p:scale>
        <p:origin x="2766" y="72"/>
      </p:cViewPr>
      <p:guideLst>
        <p:guide orient="horz" pos="114"/>
        <p:guide orient="horz" pos="4201"/>
        <p:guide orient="horz" pos="346"/>
        <p:guide orient="horz" pos="913"/>
        <p:guide orient="horz" pos="3725"/>
        <p:guide orient="horz" pos="2047"/>
        <p:guide pos="113"/>
        <p:guide pos="5649"/>
        <p:guide pos="442"/>
        <p:guide pos="5317"/>
        <p:guide pos="2724"/>
        <p:guide pos="3036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1FA05E-0A79-46DC-89FD-0B6F4EE769F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2EAFEF31-7BC7-4E19-BFE8-F2B1049BBEC0}">
      <dgm:prSet phldrT="[Tekst]" custT="1"/>
      <dgm:spPr>
        <a:solidFill>
          <a:srgbClr val="7CC4AC">
            <a:alpha val="50000"/>
          </a:srgbClr>
        </a:solidFill>
      </dgm:spPr>
      <dgm:t>
        <a:bodyPr/>
        <a:lstStyle/>
        <a:p>
          <a:pPr algn="ctr"/>
          <a:endParaRPr lang="da-DK" sz="2400" dirty="0"/>
        </a:p>
      </dgm:t>
    </dgm:pt>
    <dgm:pt modelId="{34004D28-543E-47ED-B9EE-59B14DB1882D}" type="parTrans" cxnId="{FD5AE594-1C53-45AF-8649-812E4613069D}">
      <dgm:prSet/>
      <dgm:spPr/>
      <dgm:t>
        <a:bodyPr/>
        <a:lstStyle/>
        <a:p>
          <a:endParaRPr lang="da-DK"/>
        </a:p>
      </dgm:t>
    </dgm:pt>
    <dgm:pt modelId="{4E1E1933-9B67-4DF0-910D-29210B294B8F}" type="sibTrans" cxnId="{FD5AE594-1C53-45AF-8649-812E4613069D}">
      <dgm:prSet/>
      <dgm:spPr/>
      <dgm:t>
        <a:bodyPr/>
        <a:lstStyle/>
        <a:p>
          <a:endParaRPr lang="da-DK"/>
        </a:p>
      </dgm:t>
    </dgm:pt>
    <dgm:pt modelId="{598A7B09-5A8A-4660-9C3B-6733E017B65B}">
      <dgm:prSet phldrT="[Tekst]" custT="1"/>
      <dgm:spPr>
        <a:solidFill>
          <a:srgbClr val="7BAA20">
            <a:alpha val="50000"/>
          </a:srgbClr>
        </a:solidFill>
      </dgm:spPr>
      <dgm:t>
        <a:bodyPr/>
        <a:lstStyle/>
        <a:p>
          <a:pPr algn="ctr"/>
          <a:endParaRPr lang="da-DK" sz="2400" dirty="0"/>
        </a:p>
      </dgm:t>
    </dgm:pt>
    <dgm:pt modelId="{68015B59-EB7E-4EC2-A8DC-1F30066F3272}" type="parTrans" cxnId="{04510DE1-4B30-4183-85F5-5E9B50BAD899}">
      <dgm:prSet/>
      <dgm:spPr/>
      <dgm:t>
        <a:bodyPr/>
        <a:lstStyle/>
        <a:p>
          <a:endParaRPr lang="da-DK"/>
        </a:p>
      </dgm:t>
    </dgm:pt>
    <dgm:pt modelId="{BAAF9EA4-62A1-4CC2-8A71-2340E564489F}" type="sibTrans" cxnId="{04510DE1-4B30-4183-85F5-5E9B50BAD899}">
      <dgm:prSet/>
      <dgm:spPr/>
      <dgm:t>
        <a:bodyPr/>
        <a:lstStyle/>
        <a:p>
          <a:endParaRPr lang="da-DK"/>
        </a:p>
      </dgm:t>
    </dgm:pt>
    <dgm:pt modelId="{05844629-ABB6-4134-AF32-57DED0071B9B}">
      <dgm:prSet phldrT="[Tekst]" custT="1"/>
      <dgm:spPr>
        <a:solidFill>
          <a:srgbClr val="00542E">
            <a:alpha val="50000"/>
          </a:srgbClr>
        </a:solidFill>
      </dgm:spPr>
      <dgm:t>
        <a:bodyPr/>
        <a:lstStyle/>
        <a:p>
          <a:endParaRPr lang="da-DK" sz="2000" dirty="0"/>
        </a:p>
      </dgm:t>
    </dgm:pt>
    <dgm:pt modelId="{1448C1CA-B670-41A0-9A45-9B668988CD9B}" type="parTrans" cxnId="{EB16A38A-0664-421D-A27B-817A781D9814}">
      <dgm:prSet/>
      <dgm:spPr/>
      <dgm:t>
        <a:bodyPr/>
        <a:lstStyle/>
        <a:p>
          <a:endParaRPr lang="da-DK"/>
        </a:p>
      </dgm:t>
    </dgm:pt>
    <dgm:pt modelId="{1BFC6980-5ECB-4CFF-ACB6-B08BDCDDEBFE}" type="sibTrans" cxnId="{EB16A38A-0664-421D-A27B-817A781D9814}">
      <dgm:prSet/>
      <dgm:spPr/>
      <dgm:t>
        <a:bodyPr/>
        <a:lstStyle/>
        <a:p>
          <a:endParaRPr lang="da-DK"/>
        </a:p>
      </dgm:t>
    </dgm:pt>
    <dgm:pt modelId="{33A454A0-C4FF-42FA-938D-EE0EA48F6F2A}" type="pres">
      <dgm:prSet presAssocID="{461FA05E-0A79-46DC-89FD-0B6F4EE769F8}" presName="compositeShape" presStyleCnt="0">
        <dgm:presLayoutVars>
          <dgm:chMax val="7"/>
          <dgm:dir/>
          <dgm:resizeHandles val="exact"/>
        </dgm:presLayoutVars>
      </dgm:prSet>
      <dgm:spPr/>
    </dgm:pt>
    <dgm:pt modelId="{9758264A-FEAE-4983-89EB-9AFE0C10A090}" type="pres">
      <dgm:prSet presAssocID="{2EAFEF31-7BC7-4E19-BFE8-F2B1049BBEC0}" presName="circ1" presStyleLbl="vennNode1" presStyleIdx="0" presStyleCnt="3" custScaleX="94522" custScaleY="94522" custLinFactNeighborX="30" custLinFactNeighborY="28700"/>
      <dgm:spPr/>
    </dgm:pt>
    <dgm:pt modelId="{BC2774F0-0FEE-4D7F-AE5A-FD836A3FF931}" type="pres">
      <dgm:prSet presAssocID="{2EAFEF31-7BC7-4E19-BFE8-F2B1049BBEC0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2D09415C-B036-4CC5-B5E4-25C38FF0E8D5}" type="pres">
      <dgm:prSet presAssocID="{598A7B09-5A8A-4660-9C3B-6733E017B65B}" presName="circ2" presStyleLbl="vennNode1" presStyleIdx="1" presStyleCnt="3" custScaleX="94522" custScaleY="94522" custLinFactNeighborX="61724" custLinFactNeighborY="-33941"/>
      <dgm:spPr/>
    </dgm:pt>
    <dgm:pt modelId="{B85B3578-995D-49E1-B1C1-423F94EEAF79}" type="pres">
      <dgm:prSet presAssocID="{598A7B09-5A8A-4660-9C3B-6733E017B65B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6AB895C2-CB2A-4708-82C7-79212819B830}" type="pres">
      <dgm:prSet presAssocID="{05844629-ABB6-4134-AF32-57DED0071B9B}" presName="circ3" presStyleLbl="vennNode1" presStyleIdx="2" presStyleCnt="3" custScaleX="94522" custScaleY="94522" custLinFactNeighborX="-60530" custLinFactNeighborY="-33613"/>
      <dgm:spPr/>
    </dgm:pt>
    <dgm:pt modelId="{1E4FC05F-CD39-4AB0-85AF-7F5196AE2DA7}" type="pres">
      <dgm:prSet presAssocID="{05844629-ABB6-4134-AF32-57DED0071B9B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D0449A6D-7381-463C-A473-C181FCEE8337}" type="presOf" srcId="{2EAFEF31-7BC7-4E19-BFE8-F2B1049BBEC0}" destId="{9758264A-FEAE-4983-89EB-9AFE0C10A090}" srcOrd="0" destOrd="0" presId="urn:microsoft.com/office/officeart/2005/8/layout/venn1"/>
    <dgm:cxn modelId="{C771A4B5-284D-469C-976F-B111555DD654}" type="presOf" srcId="{05844629-ABB6-4134-AF32-57DED0071B9B}" destId="{1E4FC05F-CD39-4AB0-85AF-7F5196AE2DA7}" srcOrd="1" destOrd="0" presId="urn:microsoft.com/office/officeart/2005/8/layout/venn1"/>
    <dgm:cxn modelId="{FD5AE594-1C53-45AF-8649-812E4613069D}" srcId="{461FA05E-0A79-46DC-89FD-0B6F4EE769F8}" destId="{2EAFEF31-7BC7-4E19-BFE8-F2B1049BBEC0}" srcOrd="0" destOrd="0" parTransId="{34004D28-543E-47ED-B9EE-59B14DB1882D}" sibTransId="{4E1E1933-9B67-4DF0-910D-29210B294B8F}"/>
    <dgm:cxn modelId="{918CBF54-ED07-4A90-AAB7-FF62FFBB7537}" type="presOf" srcId="{2EAFEF31-7BC7-4E19-BFE8-F2B1049BBEC0}" destId="{BC2774F0-0FEE-4D7F-AE5A-FD836A3FF931}" srcOrd="1" destOrd="0" presId="urn:microsoft.com/office/officeart/2005/8/layout/venn1"/>
    <dgm:cxn modelId="{04510DE1-4B30-4183-85F5-5E9B50BAD899}" srcId="{461FA05E-0A79-46DC-89FD-0B6F4EE769F8}" destId="{598A7B09-5A8A-4660-9C3B-6733E017B65B}" srcOrd="1" destOrd="0" parTransId="{68015B59-EB7E-4EC2-A8DC-1F30066F3272}" sibTransId="{BAAF9EA4-62A1-4CC2-8A71-2340E564489F}"/>
    <dgm:cxn modelId="{8C9FBDCD-2E90-4576-823F-4944036AF5EE}" type="presOf" srcId="{598A7B09-5A8A-4660-9C3B-6733E017B65B}" destId="{B85B3578-995D-49E1-B1C1-423F94EEAF79}" srcOrd="1" destOrd="0" presId="urn:microsoft.com/office/officeart/2005/8/layout/venn1"/>
    <dgm:cxn modelId="{0A6964EF-212B-4402-B62E-5E06859CEDEF}" type="presOf" srcId="{598A7B09-5A8A-4660-9C3B-6733E017B65B}" destId="{2D09415C-B036-4CC5-B5E4-25C38FF0E8D5}" srcOrd="0" destOrd="0" presId="urn:microsoft.com/office/officeart/2005/8/layout/venn1"/>
    <dgm:cxn modelId="{7EE1451B-9136-4027-8ADB-07B727CD81E7}" type="presOf" srcId="{461FA05E-0A79-46DC-89FD-0B6F4EE769F8}" destId="{33A454A0-C4FF-42FA-938D-EE0EA48F6F2A}" srcOrd="0" destOrd="0" presId="urn:microsoft.com/office/officeart/2005/8/layout/venn1"/>
    <dgm:cxn modelId="{71B52856-7583-409C-A152-734A03D35110}" type="presOf" srcId="{05844629-ABB6-4134-AF32-57DED0071B9B}" destId="{6AB895C2-CB2A-4708-82C7-79212819B830}" srcOrd="0" destOrd="0" presId="urn:microsoft.com/office/officeart/2005/8/layout/venn1"/>
    <dgm:cxn modelId="{EB16A38A-0664-421D-A27B-817A781D9814}" srcId="{461FA05E-0A79-46DC-89FD-0B6F4EE769F8}" destId="{05844629-ABB6-4134-AF32-57DED0071B9B}" srcOrd="2" destOrd="0" parTransId="{1448C1CA-B670-41A0-9A45-9B668988CD9B}" sibTransId="{1BFC6980-5ECB-4CFF-ACB6-B08BDCDDEBFE}"/>
    <dgm:cxn modelId="{A764956E-76F9-46F4-8154-0AD3D94D1744}" type="presParOf" srcId="{33A454A0-C4FF-42FA-938D-EE0EA48F6F2A}" destId="{9758264A-FEAE-4983-89EB-9AFE0C10A090}" srcOrd="0" destOrd="0" presId="urn:microsoft.com/office/officeart/2005/8/layout/venn1"/>
    <dgm:cxn modelId="{431E1EAA-F682-446E-92B9-D7B94AC44B98}" type="presParOf" srcId="{33A454A0-C4FF-42FA-938D-EE0EA48F6F2A}" destId="{BC2774F0-0FEE-4D7F-AE5A-FD836A3FF931}" srcOrd="1" destOrd="0" presId="urn:microsoft.com/office/officeart/2005/8/layout/venn1"/>
    <dgm:cxn modelId="{4075EFD9-2595-4515-955A-1F312E76505D}" type="presParOf" srcId="{33A454A0-C4FF-42FA-938D-EE0EA48F6F2A}" destId="{2D09415C-B036-4CC5-B5E4-25C38FF0E8D5}" srcOrd="2" destOrd="0" presId="urn:microsoft.com/office/officeart/2005/8/layout/venn1"/>
    <dgm:cxn modelId="{6EFB3BB4-34E6-4070-BA23-494C55737447}" type="presParOf" srcId="{33A454A0-C4FF-42FA-938D-EE0EA48F6F2A}" destId="{B85B3578-995D-49E1-B1C1-423F94EEAF79}" srcOrd="3" destOrd="0" presId="urn:microsoft.com/office/officeart/2005/8/layout/venn1"/>
    <dgm:cxn modelId="{54C3A320-2ECF-408B-BDBC-49AEA2E99A76}" type="presParOf" srcId="{33A454A0-C4FF-42FA-938D-EE0EA48F6F2A}" destId="{6AB895C2-CB2A-4708-82C7-79212819B830}" srcOrd="4" destOrd="0" presId="urn:microsoft.com/office/officeart/2005/8/layout/venn1"/>
    <dgm:cxn modelId="{30F35136-76C0-4029-A702-2CD88AB5F42D}" type="presParOf" srcId="{33A454A0-C4FF-42FA-938D-EE0EA48F6F2A}" destId="{1E4FC05F-CD39-4AB0-85AF-7F5196AE2DA7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58264A-FEAE-4983-89EB-9AFE0C10A090}">
      <dsp:nvSpPr>
        <dsp:cNvPr id="0" name=""/>
        <dsp:cNvSpPr/>
      </dsp:nvSpPr>
      <dsp:spPr>
        <a:xfrm>
          <a:off x="2610330" y="893721"/>
          <a:ext cx="2520001" cy="2520001"/>
        </a:xfrm>
        <a:prstGeom prst="ellipse">
          <a:avLst/>
        </a:prstGeom>
        <a:solidFill>
          <a:srgbClr val="7CC4AC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2400" kern="1200" dirty="0"/>
        </a:p>
      </dsp:txBody>
      <dsp:txXfrm>
        <a:off x="2946330" y="1334721"/>
        <a:ext cx="1848000" cy="1134000"/>
      </dsp:txXfrm>
    </dsp:sp>
    <dsp:sp modelId="{2D09415C-B036-4CC5-B5E4-25C38FF0E8D5}">
      <dsp:nvSpPr>
        <dsp:cNvPr id="0" name=""/>
        <dsp:cNvSpPr/>
      </dsp:nvSpPr>
      <dsp:spPr>
        <a:xfrm>
          <a:off x="5217120" y="889962"/>
          <a:ext cx="2520001" cy="2520001"/>
        </a:xfrm>
        <a:prstGeom prst="ellipse">
          <a:avLst/>
        </a:prstGeom>
        <a:solidFill>
          <a:srgbClr val="7BAA2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2400" kern="1200" dirty="0"/>
        </a:p>
      </dsp:txBody>
      <dsp:txXfrm>
        <a:off x="5987820" y="1540962"/>
        <a:ext cx="1512000" cy="1386000"/>
      </dsp:txXfrm>
    </dsp:sp>
    <dsp:sp modelId="{6AB895C2-CB2A-4708-82C7-79212819B830}">
      <dsp:nvSpPr>
        <dsp:cNvPr id="0" name=""/>
        <dsp:cNvSpPr/>
      </dsp:nvSpPr>
      <dsp:spPr>
        <a:xfrm>
          <a:off x="33773" y="898706"/>
          <a:ext cx="2520001" cy="2520001"/>
        </a:xfrm>
        <a:prstGeom prst="ellipse">
          <a:avLst/>
        </a:prstGeom>
        <a:solidFill>
          <a:srgbClr val="00542E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2000" kern="1200" dirty="0"/>
        </a:p>
      </dsp:txBody>
      <dsp:txXfrm>
        <a:off x="271073" y="1549707"/>
        <a:ext cx="1512000" cy="1386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>
            <a:lvl1pPr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endParaRPr lang="da-DK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>
            <a:lvl1pPr algn="r"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endParaRPr lang="da-DK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b" anchorCtr="0" compatLnSpc="1">
            <a:prstTxWarp prst="textNoShape">
              <a:avLst/>
            </a:prstTxWarp>
          </a:bodyPr>
          <a:lstStyle>
            <a:lvl1pPr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endParaRPr lang="da-DK" dirty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b" anchorCtr="0" compatLnSpc="1">
            <a:prstTxWarp prst="textNoShape">
              <a:avLst/>
            </a:prstTxWarp>
          </a:bodyPr>
          <a:lstStyle>
            <a:lvl1pPr algn="r"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fld id="{7BDCB627-C57F-4AEF-9AD3-12F7BE6D30D0}" type="slidenum">
              <a:rPr lang="da-DK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170481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>
            <a:lvl1pPr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endParaRPr lang="da-DK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>
            <a:lvl1pPr algn="r"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endParaRPr lang="da-DK" dirty="0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8350"/>
            <a:ext cx="51181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1200" y="4860925"/>
            <a:ext cx="5676900" cy="4605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b" anchorCtr="0" compatLnSpc="1">
            <a:prstTxWarp prst="textNoShape">
              <a:avLst/>
            </a:prstTxWarp>
          </a:bodyPr>
          <a:lstStyle>
            <a:lvl1pPr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endParaRPr lang="da-DK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b" anchorCtr="0" compatLnSpc="1">
            <a:prstTxWarp prst="textNoShape">
              <a:avLst/>
            </a:prstTxWarp>
          </a:bodyPr>
          <a:lstStyle>
            <a:lvl1pPr algn="r"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fld id="{27848E65-9E75-41AE-BC80-13A10C6B0591}" type="slidenum">
              <a:rPr lang="da-DK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650976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147292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832881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42797" y="4859144"/>
            <a:ext cx="5623566" cy="2109201"/>
          </a:xfrm>
        </p:spPr>
        <p:txBody>
          <a:bodyPr/>
          <a:lstStyle/>
          <a:p>
            <a:pPr defTabSz="946124">
              <a:defRPr/>
            </a:pPr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231397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42797" y="4859143"/>
            <a:ext cx="5623566" cy="158384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7CA6B-6BE3-424D-A16A-799909235261}" type="slidenum">
              <a:rPr lang="da-DK" smtClean="0">
                <a:latin typeface="Verdana"/>
              </a:rPr>
              <a:pPr/>
              <a:t>4</a:t>
            </a:fld>
            <a:endParaRPr lang="da-DK" dirty="0"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232306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672217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608456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20103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80000" y="180000"/>
            <a:ext cx="8784000" cy="6498000"/>
          </a:xfrm>
          <a:solidFill>
            <a:srgbClr val="7CC4AC"/>
          </a:solidFill>
        </p:spPr>
        <p:txBody>
          <a:bodyPr tIns="936000" anchor="ctr" anchorCtr="0"/>
          <a:lstStyle>
            <a:lvl1pPr algn="ctr">
              <a:defRPr sz="1400" b="0"/>
            </a:lvl1pPr>
          </a:lstStyle>
          <a:p>
            <a:r>
              <a:rPr lang="en-US" noProof="1"/>
              <a:t>Klik her og indsæt billede via Vælg billeder- eller Rediger-knappen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8000" y="180000"/>
            <a:ext cx="5472000" cy="3060000"/>
          </a:xfrm>
          <a:blipFill>
            <a:blip r:embed="rId2"/>
            <a:stretch>
              <a:fillRect/>
            </a:stretch>
          </a:blipFill>
        </p:spPr>
        <p:txBody>
          <a:bodyPr lIns="241200" rIns="180000" bIns="234000" anchor="b" anchorCtr="0"/>
          <a:lstStyle>
            <a:lvl1pPr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720000" y="391812"/>
            <a:ext cx="2145600" cy="406800"/>
          </a:xfrm>
          <a:blipFill>
            <a:blip r:embed="rId3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74" y="1267199"/>
            <a:ext cx="5061600" cy="999186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titel i maksimalt to linjer</a:t>
            </a:r>
          </a:p>
        </p:txBody>
      </p:sp>
      <p:sp>
        <p:nvSpPr>
          <p:cNvPr id="6147" name="Subtit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01675" y="2348881"/>
            <a:ext cx="5051425" cy="370800"/>
          </a:xfrm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Indsæt undertitel i maksimalt én linje</a:t>
            </a:r>
          </a:p>
        </p:txBody>
      </p:sp>
      <p:sp>
        <p:nvSpPr>
          <p:cNvPr id="6150" name="Rectangle 6" hidden="1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591050" y="6632280"/>
            <a:ext cx="231775" cy="45719"/>
          </a:xfrm>
          <a:noFill/>
        </p:spPr>
        <p:txBody>
          <a:bodyPr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7" name="AutoShape 4"/>
          <p:cNvSpPr>
            <a:spLocks/>
          </p:cNvSpPr>
          <p:nvPr/>
        </p:nvSpPr>
        <p:spPr bwMode="gray">
          <a:xfrm>
            <a:off x="-1958975" y="180974"/>
            <a:ext cx="1871662" cy="96949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0000"/>
              </a:lnSpc>
              <a:spcBef>
                <a:spcPct val="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Vis hjælpelinjer som er en hjælp ved placering af billeder</a:t>
            </a:r>
          </a:p>
          <a:p>
            <a:pPr algn="r" defTabSz="457200">
              <a:lnSpc>
                <a:spcPct val="100000"/>
              </a:lnSpc>
              <a:spcBef>
                <a:spcPct val="0"/>
              </a:spcBef>
              <a:tabLst>
                <a:tab pos="177800" algn="l"/>
              </a:tabLst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1.	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Højre klik på den aktuelle side og vælg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’gitter og hjælpelinjer’</a:t>
            </a:r>
          </a:p>
          <a:p>
            <a:pPr algn="r" defTabSz="457200">
              <a:lnSpc>
                <a:spcPct val="100000"/>
              </a:lnSpc>
              <a:spcBef>
                <a:spcPct val="0"/>
              </a:spcBef>
              <a:tabLst>
                <a:tab pos="177800" algn="l"/>
              </a:tabLst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2. 	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æt kryds ved ’Vis’ tegnehjælpelinjer på skærmen</a:t>
            </a:r>
          </a:p>
          <a:p>
            <a:pPr algn="r" defTabSz="457200">
              <a:lnSpc>
                <a:spcPct val="100000"/>
              </a:lnSpc>
              <a:spcBef>
                <a:spcPct val="0"/>
              </a:spcBef>
              <a:buFontTx/>
              <a:buAutoNum type="arabicPeriod" startAt="3"/>
              <a:tabLst>
                <a:tab pos="177800" algn="l"/>
              </a:tabLst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Vælg “OK”</a:t>
            </a:r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-1988616" y="3184502"/>
            <a:ext cx="1871662" cy="41549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0000"/>
              </a:lnSpc>
              <a:spcBef>
                <a:spcPct val="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dato</a:t>
            </a:r>
          </a:p>
          <a:p>
            <a:pPr algn="r" defTabSz="457200">
              <a:lnSpc>
                <a:spcPct val="100000"/>
              </a:lnSpc>
              <a:spcBef>
                <a:spcPct val="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f.eks.</a:t>
            </a:r>
            <a:b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ebruar 2015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1405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much text,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4"/>
            <a:ext cx="8788400" cy="6494503"/>
          </a:xfrm>
        </p:spPr>
        <p:txBody>
          <a:bodyPr/>
          <a:lstStyle>
            <a:lvl1pPr algn="ctr">
              <a:defRPr sz="1400"/>
            </a:lvl1pPr>
          </a:lstStyle>
          <a:p>
            <a:r>
              <a:rPr lang="da-DK" dirty="0"/>
              <a:t>Select placeholder and insert pictur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0140FD-45B9-46AC-9D34-F4A3726A8E6F}" type="datetime5">
              <a:rPr lang="da-DK" smtClean="0"/>
              <a:t>juni 2017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80101F-5742-4645-B1C0-D6AFABF6C92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701675" y="1520825"/>
            <a:ext cx="3870325" cy="2578100"/>
          </a:xfrm>
          <a:prstGeom prst="rect">
            <a:avLst/>
          </a:prstGeom>
          <a:solidFill>
            <a:schemeClr val="bg1">
              <a:alpha val="86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a-DK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/>
          </p:nvPr>
        </p:nvSpPr>
        <p:spPr>
          <a:xfrm>
            <a:off x="702668" y="1458913"/>
            <a:ext cx="7724932" cy="2174199"/>
          </a:xfrm>
          <a:solidFill>
            <a:srgbClr val="FFFFFF">
              <a:alpha val="85098"/>
            </a:srgbClr>
          </a:solidFill>
        </p:spPr>
        <p:txBody>
          <a:bodyPr wrap="square" lIns="378000" tIns="324000" rIns="378000" bIns="72000">
            <a:spAutoFit/>
          </a:bodyPr>
          <a:lstStyle>
            <a:lvl1pPr>
              <a:defRPr sz="1800"/>
            </a:lvl1pPr>
            <a:lvl2pPr algn="r">
              <a:spcBef>
                <a:spcPts val="1200"/>
              </a:spcBef>
              <a:defRPr sz="1200" b="1" cap="all" baseline="0"/>
            </a:lvl2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2" name="TextBox 17"/>
          <p:cNvSpPr txBox="1">
            <a:spLocks noChangeArrowheads="1"/>
          </p:cNvSpPr>
          <p:nvPr userDrawn="1"/>
        </p:nvSpPr>
        <p:spPr bwMode="auto">
          <a:xfrm>
            <a:off x="-1791570" y="1455600"/>
            <a:ext cx="1683620" cy="201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Tekst i første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niveau</a:t>
            </a:r>
            <a:b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Arial Bold 18 pk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rug forøg listeniveau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få NAVN-tekst</a:t>
            </a:r>
          </a:p>
          <a:p>
            <a:pPr algn="r" eaLnBrk="1" hangingPunct="1"/>
            <a:endParaRPr lang="da-DK" sz="900" b="1" baseline="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eaLnBrk="1" hangingPunct="1"/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Navnet i andet niveau</a:t>
            </a:r>
            <a:b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tore bogstaver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Arial Bold 12 pkt</a:t>
            </a:r>
          </a:p>
          <a:p>
            <a:pPr algn="r" eaLnBrk="1" hangingPunct="1"/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eaLnBrk="1" hangingPunct="1"/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eaLnBrk="1" hangingPunct="1"/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få venstrestillet tekst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rug formindsk listeniveau</a:t>
            </a:r>
          </a:p>
        </p:txBody>
      </p:sp>
      <p:pic>
        <p:nvPicPr>
          <p:cNvPr id="2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67310" y="2077058"/>
            <a:ext cx="457200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Rounded Rectangle 23"/>
          <p:cNvSpPr/>
          <p:nvPr userDrawn="1"/>
        </p:nvSpPr>
        <p:spPr>
          <a:xfrm>
            <a:off x="-338710" y="2077058"/>
            <a:ext cx="214465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pic>
        <p:nvPicPr>
          <p:cNvPr id="25" name="Picture 3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546100" y="2922364"/>
            <a:ext cx="438150" cy="209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ctangle 25"/>
          <p:cNvSpPr/>
          <p:nvPr userDrawn="1"/>
        </p:nvSpPr>
        <p:spPr>
          <a:xfrm>
            <a:off x="-327025" y="2922364"/>
            <a:ext cx="219075" cy="201169"/>
          </a:xfrm>
          <a:prstGeom prst="rect">
            <a:avLst/>
          </a:prstGeom>
          <a:solidFill>
            <a:srgbClr val="FFFFFF">
              <a:alpha val="65882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27" name="Rounded Rectangle 26"/>
          <p:cNvSpPr/>
          <p:nvPr userDrawn="1"/>
        </p:nvSpPr>
        <p:spPr>
          <a:xfrm>
            <a:off x="-541490" y="2924938"/>
            <a:ext cx="214465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92800" y="6051600"/>
            <a:ext cx="2145600" cy="406800"/>
          </a:xfrm>
          <a:blipFill>
            <a:blip r:embed="rId5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5661971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 and small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1675" y="538163"/>
            <a:ext cx="7720013" cy="920750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01675" y="1458913"/>
            <a:ext cx="3622675" cy="4443412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9650" y="1458913"/>
            <a:ext cx="3621088" cy="3571200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Line 5"/>
          <p:cNvSpPr>
            <a:spLocks noChangeShapeType="1"/>
          </p:cNvSpPr>
          <p:nvPr userDrawn="1"/>
        </p:nvSpPr>
        <p:spPr bwMode="auto">
          <a:xfrm>
            <a:off x="4564623" y="1511300"/>
            <a:ext cx="0" cy="43910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971F-17AD-4B60-9BCB-6A5C0A129568}" type="datetime5">
              <a:rPr lang="da-DK" smtClean="0"/>
              <a:t>juni 2017</a:t>
            </a:fld>
            <a:endParaRPr lang="da-DK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4" name="TextBox 17"/>
          <p:cNvSpPr txBox="1">
            <a:spLocks noChangeArrowheads="1"/>
          </p:cNvSpPr>
          <p:nvPr userDrawn="1"/>
        </p:nvSpPr>
        <p:spPr bwMode="auto">
          <a:xfrm>
            <a:off x="-2124075" y="4725144"/>
            <a:ext cx="2016125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ift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il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blå baggrund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Vælg ’Design’ i top menuen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Højre klik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på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‘Blank blå’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Vælg ’Applicér på valgte dias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37488" y="4000214"/>
            <a:ext cx="1326405" cy="686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13"/>
          <p:cNvSpPr/>
          <p:nvPr userDrawn="1"/>
        </p:nvSpPr>
        <p:spPr>
          <a:xfrm>
            <a:off x="-546101" y="3985306"/>
            <a:ext cx="441549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15" name="Rounded Rectangle 14"/>
          <p:cNvSpPr/>
          <p:nvPr userDrawn="1"/>
        </p:nvSpPr>
        <p:spPr>
          <a:xfrm>
            <a:off x="-844062" y="4228809"/>
            <a:ext cx="539375" cy="423564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7314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small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1675" y="538163"/>
            <a:ext cx="7720013" cy="920750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1675" y="1458913"/>
            <a:ext cx="3622675" cy="3571200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19650" y="1458913"/>
            <a:ext cx="3621088" cy="4443412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Line 5"/>
          <p:cNvSpPr>
            <a:spLocks noChangeShapeType="1"/>
          </p:cNvSpPr>
          <p:nvPr userDrawn="1"/>
        </p:nvSpPr>
        <p:spPr bwMode="auto">
          <a:xfrm>
            <a:off x="4564623" y="1511300"/>
            <a:ext cx="0" cy="43910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9A04B4-26E1-42C2-BB58-1312B0089467}" type="datetime5">
              <a:rPr lang="da-DK" smtClean="0"/>
              <a:t>juni 2017</a:t>
            </a:fld>
            <a:endParaRPr lang="da-DK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4" name="TextBox 17"/>
          <p:cNvSpPr txBox="1">
            <a:spLocks noChangeArrowheads="1"/>
          </p:cNvSpPr>
          <p:nvPr userDrawn="1"/>
        </p:nvSpPr>
        <p:spPr bwMode="auto">
          <a:xfrm>
            <a:off x="-2124075" y="4725144"/>
            <a:ext cx="2016125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ift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il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blå baggrund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Vælg ’Design’ i top menuen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Højre klik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på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‘Blank blå’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Vælg ’Applicér på valgte dias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37488" y="4000214"/>
            <a:ext cx="1326405" cy="686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ed Rectangle 13"/>
          <p:cNvSpPr/>
          <p:nvPr userDrawn="1"/>
        </p:nvSpPr>
        <p:spPr>
          <a:xfrm>
            <a:off x="-546101" y="3985306"/>
            <a:ext cx="441549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15" name="Rounded Rectangle 14"/>
          <p:cNvSpPr/>
          <p:nvPr userDrawn="1"/>
        </p:nvSpPr>
        <p:spPr>
          <a:xfrm>
            <a:off x="-844062" y="4228809"/>
            <a:ext cx="539375" cy="423564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1827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01675" y="17440364"/>
            <a:ext cx="2133600" cy="144463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DB4A426F-49C3-4354-8FF6-30CD8AC67006}" type="datetime5">
              <a:rPr lang="da-DK" smtClean="0"/>
              <a:t>juni 2017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28700" y="17074516"/>
            <a:ext cx="3794125" cy="354776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2668" y="17077691"/>
            <a:ext cx="279770" cy="171450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1E80101F-5742-4645-B1C0-D6AFABF6C92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1378" y="0"/>
            <a:ext cx="914262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1777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5367663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2324" y="540000"/>
            <a:ext cx="7740000" cy="9216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2600" strike="noStrike" cap="all" baseline="0">
                <a:solidFill>
                  <a:srgbClr val="031D5C"/>
                </a:solidFill>
                <a:latin typeface="+mj-lt"/>
              </a:defRPr>
            </a:lvl1pPr>
          </a:lstStyle>
          <a:p>
            <a:r>
              <a:rPr lang="da-DK" noProof="0"/>
              <a:t>Klik for at redigere i master</a:t>
            </a:r>
            <a:endParaRPr lang="da-DK" noProof="0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702000" y="6325200"/>
            <a:ext cx="327600" cy="17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Verdana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  <a:sym typeface="Verdana"/>
            </a:endParaRPr>
          </a:p>
        </p:txBody>
      </p:sp>
      <p:pic>
        <p:nvPicPr>
          <p:cNvPr id="19" name="Picture 2" descr="U:\Moderniseringsstyrelsen\Jobs\3589_Koncernfaelles skabelonloesning i FM styrelser\Received\Work\MODST_Logo.emf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551" y="6051600"/>
            <a:ext cx="2154321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dsholder til tekst 3"/>
          <p:cNvSpPr>
            <a:spLocks noGrp="1"/>
          </p:cNvSpPr>
          <p:nvPr>
            <p:ph type="body" sz="quarter" idx="10"/>
          </p:nvPr>
        </p:nvSpPr>
        <p:spPr>
          <a:xfrm>
            <a:off x="701674" y="190889"/>
            <a:ext cx="7740650" cy="184666"/>
          </a:xfrm>
        </p:spPr>
        <p:txBody>
          <a:bodyPr anchor="b">
            <a:spAutoFit/>
          </a:bodyPr>
          <a:lstStyle>
            <a:lvl1pPr>
              <a:defRPr cap="all" baseline="0">
                <a:solidFill>
                  <a:srgbClr val="031D5C"/>
                </a:solidFill>
              </a:defRPr>
            </a:lvl1pPr>
            <a:lvl2pPr>
              <a:defRPr cap="all" baseline="0"/>
            </a:lvl2pPr>
            <a:lvl3pPr>
              <a:defRPr cap="all" baseline="0"/>
            </a:lvl3pPr>
            <a:lvl4pPr>
              <a:defRPr cap="all" baseline="0"/>
            </a:lvl4pPr>
            <a:lvl5pPr>
              <a:defRPr cap="all" baseline="0"/>
            </a:lvl5pPr>
          </a:lstStyle>
          <a:p>
            <a:pPr lvl="0"/>
            <a:r>
              <a:rPr lang="da-DK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15432510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0702171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2324" y="540000"/>
            <a:ext cx="7740000" cy="9216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2600" strike="noStrike" cap="all" baseline="0">
                <a:solidFill>
                  <a:srgbClr val="031D5C"/>
                </a:solidFill>
                <a:latin typeface="+mj-lt"/>
              </a:defRPr>
            </a:lvl1pPr>
          </a:lstStyle>
          <a:p>
            <a:r>
              <a:rPr lang="da-DK" noProof="0"/>
              <a:t>Klik for at redigere i master</a:t>
            </a:r>
            <a:endParaRPr lang="da-DK" noProof="0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702000" y="6325200"/>
            <a:ext cx="327600" cy="17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Verdana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  <a:sym typeface="Verdana"/>
            </a:endParaRPr>
          </a:p>
        </p:txBody>
      </p:sp>
      <p:pic>
        <p:nvPicPr>
          <p:cNvPr id="19" name="Picture 2" descr="U:\Moderniseringsstyrelsen\Jobs\3589_Koncernfaelles skabelonloesning i FM styrelser\Received\Work\MODST_Logo.emf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551" y="6051600"/>
            <a:ext cx="2154321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dsholder til tekst 3"/>
          <p:cNvSpPr>
            <a:spLocks noGrp="1"/>
          </p:cNvSpPr>
          <p:nvPr>
            <p:ph type="body" sz="quarter" idx="10"/>
          </p:nvPr>
        </p:nvSpPr>
        <p:spPr>
          <a:xfrm>
            <a:off x="701674" y="190889"/>
            <a:ext cx="7740650" cy="184666"/>
          </a:xfrm>
        </p:spPr>
        <p:txBody>
          <a:bodyPr anchor="b">
            <a:spAutoFit/>
          </a:bodyPr>
          <a:lstStyle>
            <a:lvl1pPr>
              <a:defRPr cap="all" baseline="0">
                <a:solidFill>
                  <a:srgbClr val="031D5C"/>
                </a:solidFill>
              </a:defRPr>
            </a:lvl1pPr>
            <a:lvl2pPr>
              <a:defRPr cap="all" baseline="0"/>
            </a:lvl2pPr>
            <a:lvl3pPr>
              <a:defRPr cap="all" baseline="0"/>
            </a:lvl3pPr>
            <a:lvl4pPr>
              <a:defRPr cap="all" baseline="0"/>
            </a:lvl4pPr>
            <a:lvl5pPr>
              <a:defRPr cap="all" baseline="0"/>
            </a:lvl5pPr>
          </a:lstStyle>
          <a:p>
            <a:pPr lvl="0"/>
            <a:r>
              <a:rPr lang="da-DK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61186396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37488" y="4000214"/>
            <a:ext cx="1326405" cy="686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1F283F1-E235-412E-AE35-F97D20F02D48}" type="datetime5">
              <a:rPr lang="da-DK" smtClean="0"/>
              <a:t>juni 2017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6ECE14-DE6A-47DB-A2E9-53D91F6F3E38}" type="slidenum">
              <a:rPr lang="da-DK"/>
              <a:pPr/>
              <a:t>‹#›</a:t>
            </a:fld>
            <a:endParaRPr lang="da-DK" dirty="0"/>
          </a:p>
        </p:txBody>
      </p:sp>
      <p:sp>
        <p:nvSpPr>
          <p:cNvPr id="8" name="TextBox 17"/>
          <p:cNvSpPr txBox="1">
            <a:spLocks noChangeArrowheads="1"/>
          </p:cNvSpPr>
          <p:nvPr userDrawn="1"/>
        </p:nvSpPr>
        <p:spPr bwMode="auto">
          <a:xfrm>
            <a:off x="-1791570" y="1455600"/>
            <a:ext cx="1683620" cy="1484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Tekst starter uden punktopstilling</a:t>
            </a:r>
            <a:b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få punktopstilling på teksten (flere niveauer findes) brug forøg listeniveau</a:t>
            </a:r>
          </a:p>
          <a:p>
            <a:pPr algn="r" eaLnBrk="1" hangingPunct="1"/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eaLnBrk="1" hangingPunct="1"/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få venstrestillet tekst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uden punktopstilling, brug formindsk listeniveau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67310" y="2232706"/>
            <a:ext cx="457200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ounded Rectangle 9"/>
          <p:cNvSpPr/>
          <p:nvPr userDrawn="1"/>
        </p:nvSpPr>
        <p:spPr>
          <a:xfrm>
            <a:off x="-338710" y="2232706"/>
            <a:ext cx="214465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546100" y="2971004"/>
            <a:ext cx="438150" cy="209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327025" y="2971004"/>
            <a:ext cx="219075" cy="201169"/>
          </a:xfrm>
          <a:prstGeom prst="rect">
            <a:avLst/>
          </a:prstGeom>
          <a:solidFill>
            <a:srgbClr val="FFFFFF">
              <a:alpha val="65882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13" name="Rounded Rectangle 12"/>
          <p:cNvSpPr/>
          <p:nvPr userDrawn="1"/>
        </p:nvSpPr>
        <p:spPr>
          <a:xfrm>
            <a:off x="-541490" y="2973578"/>
            <a:ext cx="214465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15" name="TextBox 17"/>
          <p:cNvSpPr txBox="1">
            <a:spLocks noChangeArrowheads="1"/>
          </p:cNvSpPr>
          <p:nvPr userDrawn="1"/>
        </p:nvSpPr>
        <p:spPr bwMode="auto">
          <a:xfrm>
            <a:off x="-2124075" y="4725144"/>
            <a:ext cx="2016125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ift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il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blå baggrund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Vælg ’Design’ i top menuen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Højre klik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på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‘Blank blå’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Vælg ’Applicér på valgte dias</a:t>
            </a:r>
          </a:p>
        </p:txBody>
      </p:sp>
      <p:sp>
        <p:nvSpPr>
          <p:cNvPr id="19" name="Rounded Rectangle 18"/>
          <p:cNvSpPr/>
          <p:nvPr userDrawn="1"/>
        </p:nvSpPr>
        <p:spPr>
          <a:xfrm>
            <a:off x="-546101" y="3985306"/>
            <a:ext cx="441549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20" name="Rounded Rectangle 19"/>
          <p:cNvSpPr/>
          <p:nvPr userDrawn="1"/>
        </p:nvSpPr>
        <p:spPr>
          <a:xfrm>
            <a:off x="-844062" y="4228809"/>
            <a:ext cx="539375" cy="423564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530998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1675" y="538163"/>
            <a:ext cx="7739063" cy="920750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1675" y="1458913"/>
            <a:ext cx="3622675" cy="4443412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500"/>
            </a:lvl4pPr>
            <a:lvl5pPr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9650" y="1458913"/>
            <a:ext cx="3621087" cy="4443412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500"/>
            </a:lvl4pPr>
            <a:lvl5pPr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414A3A5-9366-4EDD-A956-D9CD8CCCBE03}" type="datetime5">
              <a:rPr lang="da-DK" smtClean="0"/>
              <a:t>juni 2017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4493034-D9FE-466A-8553-48847B6059D3}" type="slidenum">
              <a:rPr lang="da-DK"/>
              <a:pPr/>
              <a:t>‹#›</a:t>
            </a:fld>
            <a:endParaRPr lang="da-DK" dirty="0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4564623" y="1511300"/>
            <a:ext cx="0" cy="43910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dirty="0"/>
          </a:p>
        </p:txBody>
      </p:sp>
      <p:sp>
        <p:nvSpPr>
          <p:cNvPr id="31" name="TextBox 17"/>
          <p:cNvSpPr txBox="1">
            <a:spLocks noChangeArrowheads="1"/>
          </p:cNvSpPr>
          <p:nvPr userDrawn="1"/>
        </p:nvSpPr>
        <p:spPr bwMode="auto">
          <a:xfrm>
            <a:off x="-2124075" y="4725144"/>
            <a:ext cx="2016125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ift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il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blå baggrund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Vælg ’Design’ i top menuen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Højre klik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på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‘Blank blå’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Vælg ’Applicér på valgte dias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37488" y="4000214"/>
            <a:ext cx="1326405" cy="686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ounded Rectangle 22"/>
          <p:cNvSpPr/>
          <p:nvPr userDrawn="1"/>
        </p:nvSpPr>
        <p:spPr>
          <a:xfrm>
            <a:off x="-546101" y="3985306"/>
            <a:ext cx="441549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24" name="Rounded Rectangle 23"/>
          <p:cNvSpPr/>
          <p:nvPr userDrawn="1"/>
        </p:nvSpPr>
        <p:spPr>
          <a:xfrm>
            <a:off x="-844062" y="4228809"/>
            <a:ext cx="539375" cy="423564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25" name="TextBox 17"/>
          <p:cNvSpPr txBox="1">
            <a:spLocks noChangeArrowheads="1"/>
          </p:cNvSpPr>
          <p:nvPr userDrawn="1"/>
        </p:nvSpPr>
        <p:spPr bwMode="auto">
          <a:xfrm>
            <a:off x="-1791570" y="1455600"/>
            <a:ext cx="1683620" cy="1484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Tekst starter uden punktopstilling</a:t>
            </a:r>
            <a:b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få punktopstilling på teksten (flere niveauer findes) brug forøg listeniveau</a:t>
            </a:r>
          </a:p>
          <a:p>
            <a:pPr algn="r" eaLnBrk="1" hangingPunct="1"/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eaLnBrk="1" hangingPunct="1"/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få venstrestillet tekst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uden punktopstilling, brug formindsk listeniveau</a:t>
            </a:r>
          </a:p>
        </p:txBody>
      </p:sp>
      <p:pic>
        <p:nvPicPr>
          <p:cNvPr id="2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67310" y="2232706"/>
            <a:ext cx="457200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Rounded Rectangle 27"/>
          <p:cNvSpPr/>
          <p:nvPr userDrawn="1"/>
        </p:nvSpPr>
        <p:spPr>
          <a:xfrm>
            <a:off x="-338710" y="2232706"/>
            <a:ext cx="214465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pic>
        <p:nvPicPr>
          <p:cNvPr id="32" name="Picture 3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546100" y="2971004"/>
            <a:ext cx="438150" cy="209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Rectangle 32"/>
          <p:cNvSpPr/>
          <p:nvPr userDrawn="1"/>
        </p:nvSpPr>
        <p:spPr>
          <a:xfrm>
            <a:off x="-327025" y="2971004"/>
            <a:ext cx="219075" cy="201169"/>
          </a:xfrm>
          <a:prstGeom prst="rect">
            <a:avLst/>
          </a:prstGeom>
          <a:solidFill>
            <a:srgbClr val="FFFFFF">
              <a:alpha val="65882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34" name="Rounded Rectangle 33"/>
          <p:cNvSpPr/>
          <p:nvPr userDrawn="1"/>
        </p:nvSpPr>
        <p:spPr>
          <a:xfrm>
            <a:off x="-541490" y="2973578"/>
            <a:ext cx="214465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378651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small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1675" y="538163"/>
            <a:ext cx="7739063" cy="920750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1675" y="1458913"/>
            <a:ext cx="3622675" cy="3571200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500"/>
            </a:lvl4pPr>
            <a:lvl5pPr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9650" y="1458913"/>
            <a:ext cx="3621087" cy="3571200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500"/>
            </a:lvl4pPr>
            <a:lvl5pPr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F1ABED2-3498-4E7F-93FC-7D8E10AE6645}" type="datetime5">
              <a:rPr lang="da-DK" smtClean="0"/>
              <a:t>juni 2017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4493034-D9FE-466A-8553-48847B6059D3}" type="slidenum">
              <a:rPr lang="da-DK"/>
              <a:pPr/>
              <a:t>‹#›</a:t>
            </a:fld>
            <a:endParaRPr lang="da-DK" dirty="0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4564623" y="1511300"/>
            <a:ext cx="0" cy="43910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dirty="0"/>
          </a:p>
        </p:txBody>
      </p:sp>
      <p:sp>
        <p:nvSpPr>
          <p:cNvPr id="31" name="TextBox 17"/>
          <p:cNvSpPr txBox="1">
            <a:spLocks noChangeArrowheads="1"/>
          </p:cNvSpPr>
          <p:nvPr userDrawn="1"/>
        </p:nvSpPr>
        <p:spPr bwMode="auto">
          <a:xfrm>
            <a:off x="-2124075" y="4725144"/>
            <a:ext cx="2016125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ift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il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blå baggrund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Vælg ’Design’ i top menuen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Højre klik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på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‘Blank blå’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Vælg ’Applicér på valgte dias</a:t>
            </a:r>
          </a:p>
        </p:txBody>
      </p:sp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37488" y="4000214"/>
            <a:ext cx="1326405" cy="686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ounded Rectangle 19"/>
          <p:cNvSpPr/>
          <p:nvPr userDrawn="1"/>
        </p:nvSpPr>
        <p:spPr>
          <a:xfrm>
            <a:off x="-546101" y="3985306"/>
            <a:ext cx="441549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21" name="Rounded Rectangle 20"/>
          <p:cNvSpPr/>
          <p:nvPr userDrawn="1"/>
        </p:nvSpPr>
        <p:spPr>
          <a:xfrm>
            <a:off x="-844062" y="4228809"/>
            <a:ext cx="539375" cy="423564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22" name="TextBox 17"/>
          <p:cNvSpPr txBox="1">
            <a:spLocks noChangeArrowheads="1"/>
          </p:cNvSpPr>
          <p:nvPr userDrawn="1"/>
        </p:nvSpPr>
        <p:spPr bwMode="auto">
          <a:xfrm>
            <a:off x="-1791570" y="1455600"/>
            <a:ext cx="1683620" cy="1484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Tekst starter uden punktopstilling</a:t>
            </a:r>
            <a:b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få punktopstilling på teksten (flere niveauer findes) brug forøg listeniveau</a:t>
            </a:r>
          </a:p>
          <a:p>
            <a:pPr algn="r" eaLnBrk="1" hangingPunct="1"/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eaLnBrk="1" hangingPunct="1"/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få venstrestillet tekst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uden punktopstilling, brug formindsk listeniveau</a:t>
            </a:r>
          </a:p>
        </p:txBody>
      </p:sp>
      <p:pic>
        <p:nvPicPr>
          <p:cNvPr id="2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67310" y="2232706"/>
            <a:ext cx="457200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Rounded Rectangle 23"/>
          <p:cNvSpPr/>
          <p:nvPr userDrawn="1"/>
        </p:nvSpPr>
        <p:spPr>
          <a:xfrm>
            <a:off x="-338710" y="2232706"/>
            <a:ext cx="214465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pic>
        <p:nvPicPr>
          <p:cNvPr id="25" name="Picture 3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546100" y="2971004"/>
            <a:ext cx="438150" cy="209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ctangle 25"/>
          <p:cNvSpPr/>
          <p:nvPr userDrawn="1"/>
        </p:nvSpPr>
        <p:spPr>
          <a:xfrm>
            <a:off x="-327025" y="2971004"/>
            <a:ext cx="219075" cy="201169"/>
          </a:xfrm>
          <a:prstGeom prst="rect">
            <a:avLst/>
          </a:prstGeom>
          <a:solidFill>
            <a:srgbClr val="FFFFFF">
              <a:alpha val="65882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28" name="Rounded Rectangle 27"/>
          <p:cNvSpPr/>
          <p:nvPr userDrawn="1"/>
        </p:nvSpPr>
        <p:spPr>
          <a:xfrm>
            <a:off x="-541490" y="2973578"/>
            <a:ext cx="214465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71047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ysblå bag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1"/>
          <p:cNvSpPr>
            <a:spLocks noChangeArrowheads="1"/>
          </p:cNvSpPr>
          <p:nvPr userDrawn="1"/>
        </p:nvSpPr>
        <p:spPr bwMode="auto">
          <a:xfrm>
            <a:off x="179388" y="180975"/>
            <a:ext cx="8788400" cy="6496050"/>
          </a:xfrm>
          <a:prstGeom prst="rect">
            <a:avLst/>
          </a:prstGeom>
          <a:solidFill>
            <a:srgbClr val="00542E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1675" y="1342481"/>
            <a:ext cx="7739063" cy="4559843"/>
          </a:xfrm>
        </p:spPr>
        <p:txBody>
          <a:bodyPr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0FD38-D17B-436E-B30D-FEAF4850752B}" type="datetime5">
              <a:rPr lang="da-DK" smtClean="0"/>
              <a:t>juni 2017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80101F-5742-4645-B1C0-D6AFABF6C92F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9" name="Picture 2" descr="U:\Moderniseringsstyrelsen\Jobs\3589_Koncernfaelles skabelonloesning i FM styrelser\Received\Work\MODST_Logo.e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551" y="6051600"/>
            <a:ext cx="2154321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91730" y="6051600"/>
            <a:ext cx="2145963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159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mu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1"/>
          <p:cNvSpPr>
            <a:spLocks noChangeArrowheads="1"/>
          </p:cNvSpPr>
          <p:nvPr userDrawn="1"/>
        </p:nvSpPr>
        <p:spPr bwMode="auto">
          <a:xfrm>
            <a:off x="179388" y="180975"/>
            <a:ext cx="8788400" cy="6496050"/>
          </a:xfrm>
          <a:prstGeom prst="rect">
            <a:avLst/>
          </a:prstGeom>
          <a:solidFill>
            <a:srgbClr val="00542E"/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1675" y="1452563"/>
            <a:ext cx="7739063" cy="44497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DF34A-9DD8-477B-A1D6-B659592DE85F}" type="datetime5">
              <a:rPr lang="da-DK" smtClean="0"/>
              <a:t>juni 2017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80101F-5742-4645-B1C0-D6AFABF6C92F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91730" y="6051600"/>
            <a:ext cx="2145963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5679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D098423-AFFE-4A35-9B06-68B4FDEA9C20}" type="datetime5">
              <a:rPr lang="da-DK" smtClean="0"/>
              <a:t>juni 2017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D786DB-AA11-456F-8CC3-DEB72677322B}" type="slidenum">
              <a:rPr lang="da-DK"/>
              <a:pPr/>
              <a:t>‹#›</a:t>
            </a:fld>
            <a:endParaRPr lang="da-DK" dirty="0"/>
          </a:p>
        </p:txBody>
      </p:sp>
      <p:sp>
        <p:nvSpPr>
          <p:cNvPr id="21" name="TextBox 17"/>
          <p:cNvSpPr txBox="1">
            <a:spLocks noChangeArrowheads="1"/>
          </p:cNvSpPr>
          <p:nvPr userDrawn="1"/>
        </p:nvSpPr>
        <p:spPr bwMode="auto">
          <a:xfrm>
            <a:off x="-2124075" y="4725144"/>
            <a:ext cx="2016125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ift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il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blå baggrund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Vælg ’Design’ i top menuen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Højre klik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på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‘Blank blå’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Vælg ’Applicér på valgte dia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37488" y="4000214"/>
            <a:ext cx="1326405" cy="686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ounded Rectangle 10"/>
          <p:cNvSpPr/>
          <p:nvPr userDrawn="1"/>
        </p:nvSpPr>
        <p:spPr>
          <a:xfrm>
            <a:off x="-546101" y="3985306"/>
            <a:ext cx="441549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>
            <a:off x="-844062" y="4228809"/>
            <a:ext cx="539375" cy="423564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393609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1BA196C-9B69-40E3-AD5C-0AABDAF11F61}" type="datetime5">
              <a:rPr lang="da-DK" smtClean="0"/>
              <a:t>juni 2017</a:t>
            </a:fld>
            <a:endParaRPr lang="da-DK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67710B3-9FA4-44A8-A45D-54FF7E714ABF}" type="slidenum">
              <a:rPr lang="da-DK"/>
              <a:pPr/>
              <a:t>‹#›</a:t>
            </a:fld>
            <a:endParaRPr lang="da-DK" dirty="0"/>
          </a:p>
        </p:txBody>
      </p:sp>
      <p:sp>
        <p:nvSpPr>
          <p:cNvPr id="23" name="TextBox 17"/>
          <p:cNvSpPr txBox="1">
            <a:spLocks noChangeArrowheads="1"/>
          </p:cNvSpPr>
          <p:nvPr userDrawn="1"/>
        </p:nvSpPr>
        <p:spPr bwMode="auto">
          <a:xfrm>
            <a:off x="-2124075" y="4725144"/>
            <a:ext cx="2016125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ift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il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blå baggrund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Vælg ’Design’ i top menuen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Højre klik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på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‘Blank blå’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Vælg ’Applicér på valgte dias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37488" y="4000214"/>
            <a:ext cx="1326405" cy="686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ounded Rectangle 9"/>
          <p:cNvSpPr/>
          <p:nvPr userDrawn="1"/>
        </p:nvSpPr>
        <p:spPr>
          <a:xfrm>
            <a:off x="-546101" y="3985306"/>
            <a:ext cx="441549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11" name="Rounded Rectangle 10"/>
          <p:cNvSpPr/>
          <p:nvPr userDrawn="1"/>
        </p:nvSpPr>
        <p:spPr>
          <a:xfrm>
            <a:off x="-844062" y="4228809"/>
            <a:ext cx="539375" cy="423564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549542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,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4"/>
            <a:ext cx="8788400" cy="6494503"/>
          </a:xfrm>
        </p:spPr>
        <p:txBody>
          <a:bodyPr/>
          <a:lstStyle>
            <a:lvl1pPr algn="ctr">
              <a:defRPr sz="1400"/>
            </a:lvl1pPr>
          </a:lstStyle>
          <a:p>
            <a:r>
              <a:rPr lang="da-DK" dirty="0"/>
              <a:t>Select placeholder and insert pictur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AE48C9-793D-40BE-B5FC-EB1BE70BBD16}" type="datetime5">
              <a:rPr lang="da-DK" smtClean="0"/>
              <a:t>juni 2017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80101F-5742-4645-B1C0-D6AFABF6C92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701675" y="1520825"/>
            <a:ext cx="3870325" cy="2578100"/>
          </a:xfrm>
          <a:prstGeom prst="rect">
            <a:avLst/>
          </a:prstGeom>
          <a:solidFill>
            <a:schemeClr val="bg1">
              <a:alpha val="86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a-DK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/>
          </p:nvPr>
        </p:nvSpPr>
        <p:spPr>
          <a:xfrm>
            <a:off x="702668" y="1458913"/>
            <a:ext cx="3870000" cy="2727844"/>
          </a:xfrm>
          <a:solidFill>
            <a:srgbClr val="FFFFFF">
              <a:alpha val="85098"/>
            </a:srgbClr>
          </a:solidFill>
        </p:spPr>
        <p:txBody>
          <a:bodyPr lIns="378000" tIns="324000" rIns="378000" bIns="324000">
            <a:spAutoFit/>
          </a:bodyPr>
          <a:lstStyle>
            <a:lvl1pPr>
              <a:defRPr sz="1800"/>
            </a:lvl1pPr>
            <a:lvl2pPr algn="r">
              <a:spcBef>
                <a:spcPts val="1200"/>
              </a:spcBef>
              <a:defRPr sz="1200" b="1" cap="all" baseline="0"/>
            </a:lvl2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6" name="TextBox 17"/>
          <p:cNvSpPr txBox="1">
            <a:spLocks noChangeArrowheads="1"/>
          </p:cNvSpPr>
          <p:nvPr userDrawn="1"/>
        </p:nvSpPr>
        <p:spPr bwMode="auto">
          <a:xfrm>
            <a:off x="-1791570" y="1455600"/>
            <a:ext cx="1683620" cy="201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Tekst i første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niveau</a:t>
            </a:r>
            <a:b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Arial Bold 18 pk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rug forøg listeniveau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få NAVN-tekst</a:t>
            </a:r>
          </a:p>
          <a:p>
            <a:pPr algn="r" eaLnBrk="1" hangingPunct="1"/>
            <a:endParaRPr lang="da-DK" sz="900" b="1" baseline="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eaLnBrk="1" hangingPunct="1"/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Navnet i andet niveau</a:t>
            </a:r>
            <a:b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tore bogstaver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Arial Bold 12 pkt</a:t>
            </a:r>
          </a:p>
          <a:p>
            <a:pPr algn="r" eaLnBrk="1" hangingPunct="1"/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eaLnBrk="1" hangingPunct="1"/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eaLnBrk="1" hangingPunct="1"/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få venstrestillet tekst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rug formindsk listeniveau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67310" y="2077058"/>
            <a:ext cx="457200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ounded Rectangle 17"/>
          <p:cNvSpPr/>
          <p:nvPr userDrawn="1"/>
        </p:nvSpPr>
        <p:spPr>
          <a:xfrm>
            <a:off x="-338710" y="2077058"/>
            <a:ext cx="214465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546100" y="2922364"/>
            <a:ext cx="438150" cy="209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9"/>
          <p:cNvSpPr/>
          <p:nvPr userDrawn="1"/>
        </p:nvSpPr>
        <p:spPr>
          <a:xfrm>
            <a:off x="-327025" y="2922364"/>
            <a:ext cx="219075" cy="201169"/>
          </a:xfrm>
          <a:prstGeom prst="rect">
            <a:avLst/>
          </a:prstGeom>
          <a:solidFill>
            <a:srgbClr val="FFFFFF">
              <a:alpha val="65882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21" name="Rounded Rectangle 20"/>
          <p:cNvSpPr/>
          <p:nvPr userDrawn="1"/>
        </p:nvSpPr>
        <p:spPr>
          <a:xfrm>
            <a:off x="-541490" y="2924938"/>
            <a:ext cx="214465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92800" y="6051600"/>
            <a:ext cx="2145600" cy="406800"/>
          </a:xfrm>
          <a:blipFill>
            <a:blip r:embed="rId5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583017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gi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538163"/>
            <a:ext cx="7739063" cy="920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1675" y="1458913"/>
            <a:ext cx="7739063" cy="4443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1675" y="6686550"/>
            <a:ext cx="21336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defRPr sz="800">
                <a:solidFill>
                  <a:srgbClr val="FFFFFF"/>
                </a:solidFill>
              </a:defRPr>
            </a:lvl1pPr>
          </a:lstStyle>
          <a:p>
            <a:fld id="{030E59CC-75C3-4390-8CF8-0F1935C464EB}" type="datetime5">
              <a:rPr lang="da-DK" smtClean="0"/>
              <a:t>juni 2017</a:t>
            </a:fld>
            <a:endParaRPr lang="da-DK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28700" y="6320702"/>
            <a:ext cx="3794125" cy="354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100"/>
            </a:lvl1pPr>
          </a:lstStyle>
          <a:p>
            <a:endParaRPr lang="da-DK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2668" y="6323877"/>
            <a:ext cx="279770" cy="171450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100"/>
            </a:lvl1pPr>
          </a:lstStyle>
          <a:p>
            <a:fld id="{1E80101F-5742-4645-B1C0-D6AFABF6C92F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2" name="Picture 2" descr="U:\Moderniseringsstyrelsen\Jobs\3589_Koncernfaelles skabelonloesning i FM styrelser\Received\Work\MODST_Logo.emf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551" y="6051600"/>
            <a:ext cx="2154321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17"/>
          <p:cNvSpPr txBox="1">
            <a:spLocks noChangeArrowheads="1"/>
          </p:cNvSpPr>
          <p:nvPr/>
        </p:nvSpPr>
        <p:spPr bwMode="auto">
          <a:xfrm>
            <a:off x="-2370138" y="6012867"/>
            <a:ext cx="2281238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ndsæt tekst i sidefod</a:t>
            </a:r>
          </a:p>
          <a:p>
            <a:pPr algn="r">
              <a:lnSpc>
                <a:spcPct val="100000"/>
              </a:lnSpc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ndsæt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i top menuen</a:t>
            </a:r>
          </a:p>
          <a:p>
            <a:pPr algn="r">
              <a:lnSpc>
                <a:spcPct val="100000"/>
              </a:lnSpc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idehoved og Sidefod</a:t>
            </a:r>
          </a:p>
          <a:p>
            <a:pPr algn="r">
              <a:lnSpc>
                <a:spcPct val="100000"/>
              </a:lnSpc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riv titel på præsentation ind i tekstfeltet</a:t>
            </a:r>
          </a:p>
          <a:p>
            <a:pPr algn="r">
              <a:lnSpc>
                <a:spcPct val="100000"/>
              </a:lnSpc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4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Tryk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Anvend på al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656" r:id="rId2"/>
    <p:sldLayoutId id="2147483658" r:id="rId3"/>
    <p:sldLayoutId id="2147483729" r:id="rId4"/>
    <p:sldLayoutId id="2147483720" r:id="rId5"/>
    <p:sldLayoutId id="2147483691" r:id="rId6"/>
    <p:sldLayoutId id="2147483660" r:id="rId7"/>
    <p:sldLayoutId id="2147483661" r:id="rId8"/>
    <p:sldLayoutId id="2147483692" r:id="rId9"/>
    <p:sldLayoutId id="2147483693" r:id="rId10"/>
    <p:sldLayoutId id="2147483730" r:id="rId11"/>
    <p:sldLayoutId id="2147483731" r:id="rId12"/>
    <p:sldLayoutId id="2147483727" r:id="rId13"/>
    <p:sldLayoutId id="2147483736" r:id="rId14"/>
    <p:sldLayoutId id="2147483737" r:id="rId15"/>
  </p:sldLayoutIdLst>
  <p:hf hdr="0" ftr="0" dt="0"/>
  <p:txStyles>
    <p:titleStyle>
      <a:lvl1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900" b="1" cap="none" baseline="0">
          <a:solidFill>
            <a:srgbClr val="031D5C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algn="l" rtl="0" eaLnBrk="1" fontAlgn="base" hangingPunct="1">
        <a:lnSpc>
          <a:spcPct val="108000"/>
        </a:lnSpc>
        <a:spcBef>
          <a:spcPct val="54000"/>
        </a:spcBef>
        <a:spcAft>
          <a:spcPct val="0"/>
        </a:spcAft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1588" algn="l" rtl="0" eaLnBrk="1" fontAlgn="base" hangingPunct="1">
        <a:lnSpc>
          <a:spcPct val="108000"/>
        </a:lnSpc>
        <a:spcBef>
          <a:spcPct val="54000"/>
        </a:spcBef>
        <a:spcAft>
          <a:spcPct val="0"/>
        </a:spcAft>
        <a:defRPr sz="1700">
          <a:solidFill>
            <a:schemeClr val="tx1"/>
          </a:solidFill>
          <a:latin typeface="+mn-lt"/>
        </a:defRPr>
      </a:lvl2pPr>
      <a:lvl3pPr marL="271463" indent="-268288" algn="l" rtl="0" eaLnBrk="1" fontAlgn="base" hangingPunct="1">
        <a:lnSpc>
          <a:spcPct val="108000"/>
        </a:lnSpc>
        <a:spcBef>
          <a:spcPct val="54000"/>
        </a:spcBef>
        <a:spcAft>
          <a:spcPct val="0"/>
        </a:spcAft>
        <a:buSzPct val="95000"/>
        <a:buFont typeface="Verdana" pitchFamily="34" charset="0"/>
        <a:buChar char="●"/>
        <a:defRPr sz="1700">
          <a:solidFill>
            <a:schemeClr val="tx1"/>
          </a:solidFill>
          <a:latin typeface="+mn-lt"/>
        </a:defRPr>
      </a:lvl3pPr>
      <a:lvl4pPr marL="609600" indent="-336550" algn="l" rtl="0" eaLnBrk="1" fontAlgn="base" hangingPunct="1">
        <a:lnSpc>
          <a:spcPct val="108000"/>
        </a:lnSpc>
        <a:spcBef>
          <a:spcPct val="54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4pPr>
      <a:lvl5pPr marL="914400" indent="-296863" algn="l" rtl="0" eaLnBrk="1" fontAlgn="base" hangingPunct="1">
        <a:lnSpc>
          <a:spcPct val="108000"/>
        </a:lnSpc>
        <a:spcBef>
          <a:spcPct val="54000"/>
        </a:spcBef>
        <a:spcAft>
          <a:spcPct val="0"/>
        </a:spcAft>
        <a:buFont typeface="Arial" charset="0"/>
        <a:buChar char="–"/>
        <a:defRPr sz="1300">
          <a:solidFill>
            <a:schemeClr val="tx1"/>
          </a:solidFill>
          <a:latin typeface="+mn-lt"/>
        </a:defRPr>
      </a:lvl5pPr>
      <a:lvl6pPr marL="1371600" indent="-296863" algn="l" rtl="0" eaLnBrk="1" fontAlgn="base" hangingPunct="1">
        <a:lnSpc>
          <a:spcPct val="108000"/>
        </a:lnSpc>
        <a:spcBef>
          <a:spcPct val="54000"/>
        </a:spcBef>
        <a:spcAft>
          <a:spcPct val="0"/>
        </a:spcAft>
        <a:buFont typeface="Arial" charset="0"/>
        <a:buChar char="–"/>
        <a:defRPr sz="1300">
          <a:solidFill>
            <a:schemeClr val="tx1"/>
          </a:solidFill>
          <a:latin typeface="+mn-lt"/>
        </a:defRPr>
      </a:lvl6pPr>
      <a:lvl7pPr marL="1828800" indent="-296863" algn="l" rtl="0" eaLnBrk="1" fontAlgn="base" hangingPunct="1">
        <a:lnSpc>
          <a:spcPct val="108000"/>
        </a:lnSpc>
        <a:spcBef>
          <a:spcPct val="54000"/>
        </a:spcBef>
        <a:spcAft>
          <a:spcPct val="0"/>
        </a:spcAft>
        <a:buFont typeface="Arial" charset="0"/>
        <a:buChar char="–"/>
        <a:defRPr sz="1300">
          <a:solidFill>
            <a:schemeClr val="tx1"/>
          </a:solidFill>
          <a:latin typeface="+mn-lt"/>
        </a:defRPr>
      </a:lvl7pPr>
      <a:lvl8pPr marL="2286000" indent="-296863" algn="l" rtl="0" eaLnBrk="1" fontAlgn="base" hangingPunct="1">
        <a:lnSpc>
          <a:spcPct val="108000"/>
        </a:lnSpc>
        <a:spcBef>
          <a:spcPct val="54000"/>
        </a:spcBef>
        <a:spcAft>
          <a:spcPct val="0"/>
        </a:spcAft>
        <a:buFont typeface="Arial" charset="0"/>
        <a:buChar char="–"/>
        <a:defRPr sz="1300">
          <a:solidFill>
            <a:schemeClr val="tx1"/>
          </a:solidFill>
          <a:latin typeface="+mn-lt"/>
        </a:defRPr>
      </a:lvl8pPr>
      <a:lvl9pPr marL="2743200" indent="-296863" algn="l" rtl="0" eaLnBrk="1" fontAlgn="base" hangingPunct="1">
        <a:lnSpc>
          <a:spcPct val="108000"/>
        </a:lnSpc>
        <a:spcBef>
          <a:spcPct val="54000"/>
        </a:spcBef>
        <a:spcAft>
          <a:spcPct val="0"/>
        </a:spcAft>
        <a:buFont typeface="Arial" charset="0"/>
        <a:buChar char="–"/>
        <a:defRPr sz="13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file:///C:\Users\B027875\Desktop\Modst%20skabelon%20pp\261016%20Modst%205798ny.jpg" TargetMode="External"/><Relationship Id="rId4" Type="http://schemas.openxmlformats.org/officeDocument/2006/relationships/image" Target="../media/image9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2.jpg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jpeg"/><Relationship Id="rId5" Type="http://schemas.openxmlformats.org/officeDocument/2006/relationships/image" Target="../media/image15.jpg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/>
          <p:cNvPicPr>
            <a:picLocks noGrp="1" noChangeAspect="1"/>
          </p:cNvPicPr>
          <p:nvPr>
            <p:ph type="pic" sz="quarter" idx="10"/>
            <p:custDataLst>
              <p:tags r:id="rId1"/>
            </p:custDataLst>
          </p:nvPr>
        </p:nvPicPr>
        <p:blipFill rotWithShape="1"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" b="16"/>
          <a:stretch/>
        </p:blipFill>
        <p:spPr>
          <a:xfrm>
            <a:off x="180000" y="180000"/>
            <a:ext cx="8784000" cy="6498000"/>
          </a:xfrm>
        </p:spPr>
      </p:pic>
      <p:sp>
        <p:nvSpPr>
          <p:cNvPr id="5" name="Pladsholder til tekst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Trine Dahl</a:t>
            </a: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Central </a:t>
            </a:r>
            <a:r>
              <a:rPr lang="da-DK" dirty="0" err="1"/>
              <a:t>Government</a:t>
            </a:r>
            <a:r>
              <a:rPr lang="da-DK" dirty="0"/>
              <a:t> </a:t>
            </a:r>
            <a:r>
              <a:rPr lang="da-DK" dirty="0" err="1"/>
              <a:t>Leadership</a:t>
            </a:r>
            <a:r>
              <a:rPr lang="da-DK" dirty="0"/>
              <a:t> Development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SIG meeting CPH June 2017</a:t>
            </a:r>
          </a:p>
        </p:txBody>
      </p:sp>
    </p:spTree>
    <p:extLst>
      <p:ext uri="{BB962C8B-B14F-4D97-AF65-F5344CB8AC3E}">
        <p14:creationId xmlns:p14="http://schemas.microsoft.com/office/powerpoint/2010/main" val="2160151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600" dirty="0"/>
              <a:t>DANISH PUBLIC SECTOR – OVERALL VIEW</a:t>
            </a:r>
          </a:p>
        </p:txBody>
      </p:sp>
      <p:graphicFrame>
        <p:nvGraphicFramePr>
          <p:cNvPr id="5" name="Pladsholder til indhold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607020"/>
              </p:ext>
            </p:extLst>
          </p:nvPr>
        </p:nvGraphicFramePr>
        <p:xfrm>
          <a:off x="701675" y="1458913"/>
          <a:ext cx="7739063" cy="44434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6ECE14-DE6A-47DB-A2E9-53D91F6F3E38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6" name="Tekstboks 5"/>
          <p:cNvSpPr txBox="1"/>
          <p:nvPr/>
        </p:nvSpPr>
        <p:spPr>
          <a:xfrm>
            <a:off x="6300192" y="3140968"/>
            <a:ext cx="1728192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/>
              <a:t>Local </a:t>
            </a:r>
            <a:r>
              <a:rPr lang="da-DK" sz="2400" dirty="0" err="1"/>
              <a:t>Government</a:t>
            </a:r>
            <a:endParaRPr lang="da-DK" sz="2400" dirty="0"/>
          </a:p>
        </p:txBody>
      </p:sp>
      <p:sp>
        <p:nvSpPr>
          <p:cNvPr id="7" name="Tekstboks 6"/>
          <p:cNvSpPr txBox="1"/>
          <p:nvPr/>
        </p:nvSpPr>
        <p:spPr>
          <a:xfrm flipH="1">
            <a:off x="3707904" y="3212976"/>
            <a:ext cx="1728192" cy="7680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/>
              <a:t>Regional </a:t>
            </a:r>
            <a:r>
              <a:rPr lang="da-DK" sz="2400" dirty="0" err="1"/>
              <a:t>Government</a:t>
            </a:r>
            <a:endParaRPr lang="da-DK" sz="2400" dirty="0"/>
          </a:p>
        </p:txBody>
      </p:sp>
      <p:sp>
        <p:nvSpPr>
          <p:cNvPr id="8" name="Tekstboks 7"/>
          <p:cNvSpPr txBox="1"/>
          <p:nvPr/>
        </p:nvSpPr>
        <p:spPr>
          <a:xfrm>
            <a:off x="1115616" y="3228585"/>
            <a:ext cx="1872208" cy="7680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/>
              <a:t>Central </a:t>
            </a:r>
            <a:r>
              <a:rPr lang="da-DK" sz="2400" dirty="0" err="1"/>
              <a:t>Government</a:t>
            </a:r>
            <a:endParaRPr lang="da-DK" sz="2400" dirty="0"/>
          </a:p>
        </p:txBody>
      </p:sp>
      <p:sp>
        <p:nvSpPr>
          <p:cNvPr id="11" name="Højrepil 10"/>
          <p:cNvSpPr/>
          <p:nvPr/>
        </p:nvSpPr>
        <p:spPr bwMode="auto">
          <a:xfrm rot="18255639">
            <a:off x="708555" y="4607092"/>
            <a:ext cx="978408" cy="484632"/>
          </a:xfrm>
          <a:prstGeom prst="rightArrow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30081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</a:t>
            </a:r>
            <a:r>
              <a:rPr lang="da-DK" dirty="0" err="1"/>
              <a:t>improve</a:t>
            </a:r>
            <a:r>
              <a:rPr lang="da-DK" dirty="0"/>
              <a:t> </a:t>
            </a:r>
            <a:r>
              <a:rPr lang="da-DK" dirty="0" err="1"/>
              <a:t>leadership</a:t>
            </a:r>
            <a:r>
              <a:rPr lang="da-DK" dirty="0"/>
              <a:t>?</a:t>
            </a:r>
          </a:p>
        </p:txBody>
      </p:sp>
      <p:pic>
        <p:nvPicPr>
          <p:cNvPr id="29" name="Picture 6" descr="Image result for politi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63" r="5760"/>
          <a:stretch/>
        </p:blipFill>
        <p:spPr bwMode="auto">
          <a:xfrm>
            <a:off x="738278" y="1989696"/>
            <a:ext cx="3055172" cy="253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202" name="Picture 2" descr="C:\Users\b028349\AppData\Local\Microsoft\Windows\Temporary Internet Files\Content.Outlook\FU4RLR8Q\Forskning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657"/>
          <a:stretch/>
        </p:blipFill>
        <p:spPr bwMode="auto">
          <a:xfrm>
            <a:off x="6299199" y="1994880"/>
            <a:ext cx="2102785" cy="252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ladsholder til indhold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 b="47246"/>
          <a:stretch/>
        </p:blipFill>
        <p:spPr>
          <a:xfrm>
            <a:off x="3787038" y="1989696"/>
            <a:ext cx="2716368" cy="2533256"/>
          </a:xfrm>
          <a:prstGeom prst="rect">
            <a:avLst/>
          </a:prstGeom>
        </p:spPr>
      </p:pic>
      <p:sp>
        <p:nvSpPr>
          <p:cNvPr id="4" name="Pladsholder til tekst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219939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ogram for </a:t>
            </a:r>
            <a:r>
              <a:rPr lang="da-DK" dirty="0" err="1"/>
              <a:t>leadership</a:t>
            </a:r>
            <a:r>
              <a:rPr lang="da-DK" dirty="0"/>
              <a:t> </a:t>
            </a:r>
            <a:r>
              <a:rPr lang="da-DK" dirty="0" err="1"/>
              <a:t>development</a:t>
            </a:r>
            <a:r>
              <a:rPr lang="da-DK" dirty="0"/>
              <a:t> (central </a:t>
            </a:r>
            <a:r>
              <a:rPr lang="da-DK" dirty="0" err="1"/>
              <a:t>government</a:t>
            </a:r>
            <a:r>
              <a:rPr lang="da-DK" dirty="0"/>
              <a:t>)</a:t>
            </a:r>
          </a:p>
        </p:txBody>
      </p:sp>
      <p:sp>
        <p:nvSpPr>
          <p:cNvPr id="5" name="Rektangel 4"/>
          <p:cNvSpPr/>
          <p:nvPr/>
        </p:nvSpPr>
        <p:spPr bwMode="auto">
          <a:xfrm>
            <a:off x="281333" y="1628800"/>
            <a:ext cx="8581333" cy="4248472"/>
          </a:xfrm>
          <a:prstGeom prst="rect">
            <a:avLst/>
          </a:prstGeom>
          <a:solidFill>
            <a:srgbClr val="D4EBEA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" name="TextBox 8"/>
          <p:cNvSpPr txBox="1"/>
          <p:nvPr/>
        </p:nvSpPr>
        <p:spPr>
          <a:xfrm>
            <a:off x="425348" y="2924944"/>
            <a:ext cx="1113457" cy="779362"/>
          </a:xfrm>
          <a:prstGeom prst="rect">
            <a:avLst/>
          </a:prstGeom>
          <a:solidFill>
            <a:srgbClr val="7CC4AC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da-DK" sz="1150" dirty="0" err="1">
                <a:solidFill>
                  <a:schemeClr val="bg1"/>
                </a:solidFill>
                <a:effectLst/>
                <a:latin typeface="+mj-lt"/>
                <a:ea typeface="Times New Roman"/>
              </a:rPr>
              <a:t>Preparing</a:t>
            </a:r>
            <a:r>
              <a:rPr lang="da-DK" sz="1150" dirty="0">
                <a:solidFill>
                  <a:schemeClr val="bg1"/>
                </a:solidFill>
                <a:effectLst/>
                <a:latin typeface="+mj-lt"/>
                <a:ea typeface="Times New Roman"/>
              </a:rPr>
              <a:t> for management</a:t>
            </a:r>
          </a:p>
        </p:txBody>
      </p:sp>
      <p:sp>
        <p:nvSpPr>
          <p:cNvPr id="7" name="TextBox 9"/>
          <p:cNvSpPr txBox="1"/>
          <p:nvPr/>
        </p:nvSpPr>
        <p:spPr>
          <a:xfrm>
            <a:off x="1603553" y="2924944"/>
            <a:ext cx="1246484" cy="788103"/>
          </a:xfrm>
          <a:prstGeom prst="rect">
            <a:avLst/>
          </a:prstGeom>
          <a:solidFill>
            <a:srgbClr val="7CC4AC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da-DK" sz="1150" kern="1200" dirty="0" err="1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Newly</a:t>
            </a: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 </a:t>
            </a:r>
            <a:r>
              <a:rPr lang="da-DK" sz="1150" kern="1200" dirty="0" err="1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appointed</a:t>
            </a: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 managers</a:t>
            </a:r>
            <a:endParaRPr lang="da-DK" sz="1150" dirty="0">
              <a:effectLst/>
              <a:latin typeface="+mj-lt"/>
              <a:ea typeface="Times New Roman"/>
            </a:endParaRPr>
          </a:p>
        </p:txBody>
      </p:sp>
      <p:sp>
        <p:nvSpPr>
          <p:cNvPr id="8" name="TextBox 10"/>
          <p:cNvSpPr txBox="1"/>
          <p:nvPr/>
        </p:nvSpPr>
        <p:spPr>
          <a:xfrm>
            <a:off x="2899080" y="2924944"/>
            <a:ext cx="1298422" cy="788108"/>
          </a:xfrm>
          <a:prstGeom prst="rect">
            <a:avLst/>
          </a:prstGeom>
          <a:solidFill>
            <a:srgbClr val="7CC4AC"/>
          </a:solidFill>
          <a:ln>
            <a:noFill/>
            <a:prstDash val="dash"/>
          </a:ln>
        </p:spPr>
        <p:txBody>
          <a:bodyPr wrap="square" rtlCol="0" anchor="ctr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da-DK" sz="1150" kern="1200" dirty="0" err="1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Experienced</a:t>
            </a: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 managers</a:t>
            </a:r>
            <a:endParaRPr lang="da-DK" sz="1150" dirty="0">
              <a:effectLst/>
              <a:latin typeface="+mj-lt"/>
              <a:ea typeface="Times New Roman"/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4273815" y="2924944"/>
            <a:ext cx="1310871" cy="792254"/>
          </a:xfrm>
          <a:prstGeom prst="rect">
            <a:avLst/>
          </a:prstGeom>
          <a:solidFill>
            <a:srgbClr val="7CC4AC"/>
          </a:solidFill>
          <a:ln>
            <a:noFill/>
            <a:prstDash val="dash"/>
          </a:ln>
        </p:spPr>
        <p:txBody>
          <a:bodyPr wrap="square" rtlCol="0" anchor="ctr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Managers of managers</a:t>
            </a:r>
            <a:endParaRPr lang="da-DK" sz="1150" dirty="0">
              <a:effectLst/>
              <a:latin typeface="+mj-lt"/>
              <a:ea typeface="Times New Roman"/>
            </a:endParaRPr>
          </a:p>
        </p:txBody>
      </p:sp>
      <p:sp>
        <p:nvSpPr>
          <p:cNvPr id="10" name="TextBox 12"/>
          <p:cNvSpPr txBox="1"/>
          <p:nvPr/>
        </p:nvSpPr>
        <p:spPr>
          <a:xfrm>
            <a:off x="5643289" y="2924944"/>
            <a:ext cx="1246484" cy="793893"/>
          </a:xfrm>
          <a:prstGeom prst="rect">
            <a:avLst/>
          </a:prstGeom>
          <a:solidFill>
            <a:srgbClr val="7CC4AC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Topmanager talents</a:t>
            </a:r>
            <a:endParaRPr lang="da-DK" sz="1150" dirty="0">
              <a:effectLst/>
              <a:latin typeface="+mj-lt"/>
              <a:ea typeface="Times New Roman"/>
            </a:endParaRPr>
          </a:p>
        </p:txBody>
      </p:sp>
      <p:sp>
        <p:nvSpPr>
          <p:cNvPr id="11" name="Oval 26"/>
          <p:cNvSpPr/>
          <p:nvPr/>
        </p:nvSpPr>
        <p:spPr>
          <a:xfrm>
            <a:off x="6966360" y="2924944"/>
            <a:ext cx="1739910" cy="788107"/>
          </a:xfrm>
          <a:prstGeom prst="ellipse">
            <a:avLst/>
          </a:prstGeom>
          <a:solidFill>
            <a:srgbClr val="7CC4AC"/>
          </a:solidFill>
          <a:ln w="12700" cap="flat" cmpd="sng" algn="ctr">
            <a:noFill/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ts val="0"/>
              </a:spcBef>
              <a:spcAft>
                <a:spcPts val="0"/>
              </a:spcAft>
            </a:pP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Times New Roman"/>
              </a:rPr>
              <a:t>Forum for topmanagers</a:t>
            </a:r>
            <a:endParaRPr lang="da-DK" sz="1150" dirty="0">
              <a:effectLst/>
              <a:latin typeface="+mj-lt"/>
              <a:ea typeface="Times New Roman"/>
            </a:endParaRPr>
          </a:p>
        </p:txBody>
      </p:sp>
      <p:sp>
        <p:nvSpPr>
          <p:cNvPr id="12" name="Oval 13"/>
          <p:cNvSpPr/>
          <p:nvPr/>
        </p:nvSpPr>
        <p:spPr>
          <a:xfrm>
            <a:off x="425349" y="1916832"/>
            <a:ext cx="1858048" cy="815734"/>
          </a:xfrm>
          <a:prstGeom prst="ellipse">
            <a:avLst/>
          </a:prstGeom>
          <a:solidFill>
            <a:srgbClr val="7CC4AC"/>
          </a:solidFill>
          <a:ln w="12700" cap="rnd" cmpd="sng" algn="ctr">
            <a:noFill/>
            <a:prstDash val="sysDash"/>
            <a:round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ts val="0"/>
              </a:spcBef>
              <a:spcAft>
                <a:spcPts val="0"/>
              </a:spcAft>
            </a:pPr>
            <a:r>
              <a:rPr lang="da-DK" sz="1150" kern="1200" dirty="0" err="1">
                <a:solidFill>
                  <a:srgbClr val="FFFFFF"/>
                </a:solidFill>
                <a:effectLst/>
                <a:latin typeface="+mj-lt"/>
                <a:ea typeface="Times New Roman"/>
                <a:cs typeface="Times New Roman"/>
              </a:rPr>
              <a:t>Initiatives</a:t>
            </a: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Times New Roman"/>
              </a:rPr>
              <a:t> for </a:t>
            </a:r>
            <a:endParaRPr lang="da-DK" sz="1150" dirty="0">
              <a:effectLst/>
              <a:latin typeface="+mj-lt"/>
              <a:ea typeface="Times New Roman"/>
            </a:endParaRPr>
          </a:p>
          <a:p>
            <a:pPr algn="ctr" fontAlgn="base">
              <a:spcBef>
                <a:spcPts val="0"/>
              </a:spcBef>
              <a:spcAft>
                <a:spcPts val="0"/>
              </a:spcAft>
            </a:pP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Times New Roman"/>
              </a:rPr>
              <a:t>specialists</a:t>
            </a:r>
            <a:endParaRPr lang="da-DK" sz="1150" dirty="0">
              <a:effectLst/>
              <a:latin typeface="+mj-lt"/>
              <a:ea typeface="Times New Roman"/>
            </a:endParaRPr>
          </a:p>
        </p:txBody>
      </p:sp>
      <p:sp>
        <p:nvSpPr>
          <p:cNvPr id="13" name="Rektangel 12"/>
          <p:cNvSpPr/>
          <p:nvPr/>
        </p:nvSpPr>
        <p:spPr bwMode="auto">
          <a:xfrm>
            <a:off x="425349" y="5108914"/>
            <a:ext cx="8280920" cy="53634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6350" cap="rnd" cmpd="sng" algn="ctr">
            <a:noFill/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07000"/>
              </a:lnSpc>
              <a:spcBef>
                <a:spcPts val="520"/>
              </a:spcBef>
              <a:spcAft>
                <a:spcPts val="0"/>
              </a:spcAft>
            </a:pP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E-platform</a:t>
            </a:r>
            <a:endParaRPr lang="da-DK" sz="1150" dirty="0">
              <a:effectLst/>
              <a:latin typeface="+mj-lt"/>
              <a:ea typeface="Times New Roman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2396713" y="1916832"/>
            <a:ext cx="2072388" cy="815734"/>
          </a:xfrm>
          <a:prstGeom prst="ellipse">
            <a:avLst/>
          </a:prstGeom>
          <a:solidFill>
            <a:srgbClr val="7CC4AC"/>
          </a:solidFill>
          <a:ln w="12700" cap="rnd" cmpd="sng" algn="ctr">
            <a:noFill/>
            <a:prstDash val="sysDash"/>
            <a:round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Aft>
                <a:spcPts val="0"/>
              </a:spcAft>
            </a:pPr>
            <a:r>
              <a:rPr lang="da-DK" sz="1150" kern="1200" dirty="0" err="1">
                <a:solidFill>
                  <a:srgbClr val="FFFFFF"/>
                </a:solidFill>
                <a:effectLst/>
                <a:latin typeface="+mj-lt"/>
                <a:ea typeface="Times New Roman"/>
                <a:cs typeface="Times New Roman"/>
              </a:rPr>
              <a:t>Initiatives</a:t>
            </a: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Times New Roman"/>
              </a:rPr>
              <a:t> for management teams</a:t>
            </a:r>
            <a:endParaRPr lang="da-DK" sz="1150" dirty="0">
              <a:effectLst/>
              <a:latin typeface="+mj-lt"/>
              <a:ea typeface="Times New Roman"/>
            </a:endParaRPr>
          </a:p>
        </p:txBody>
      </p:sp>
      <p:sp>
        <p:nvSpPr>
          <p:cNvPr id="15" name="Oval 13"/>
          <p:cNvSpPr/>
          <p:nvPr/>
        </p:nvSpPr>
        <p:spPr>
          <a:xfrm>
            <a:off x="4613277" y="1916832"/>
            <a:ext cx="2110018" cy="815734"/>
          </a:xfrm>
          <a:prstGeom prst="ellipse">
            <a:avLst/>
          </a:prstGeom>
          <a:solidFill>
            <a:srgbClr val="7CC4AC"/>
          </a:solidFill>
          <a:ln w="12700" cap="rnd" cmpd="sng" algn="ctr">
            <a:noFill/>
            <a:prstDash val="sysDash"/>
            <a:round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Aft>
                <a:spcPts val="0"/>
              </a:spcAft>
            </a:pP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Times New Roman"/>
              </a:rPr>
              <a:t>Networks</a:t>
            </a:r>
            <a:endParaRPr lang="da-DK" sz="1150" dirty="0">
              <a:effectLst/>
              <a:latin typeface="+mj-lt"/>
              <a:ea typeface="Times New Roman"/>
            </a:endParaRPr>
          </a:p>
        </p:txBody>
      </p:sp>
      <p:sp>
        <p:nvSpPr>
          <p:cNvPr id="16" name="Oval 13"/>
          <p:cNvSpPr/>
          <p:nvPr/>
        </p:nvSpPr>
        <p:spPr>
          <a:xfrm>
            <a:off x="6936288" y="1916832"/>
            <a:ext cx="1769981" cy="815734"/>
          </a:xfrm>
          <a:prstGeom prst="ellipse">
            <a:avLst/>
          </a:prstGeom>
          <a:solidFill>
            <a:srgbClr val="7CC4AC"/>
          </a:solidFill>
          <a:ln w="12700" cap="rnd" cmpd="sng" algn="ctr">
            <a:noFill/>
            <a:prstDash val="sysDash"/>
            <a:round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Aft>
                <a:spcPts val="0"/>
              </a:spcAft>
            </a:pPr>
            <a:r>
              <a:rPr lang="da-DK" sz="1150" kern="1200">
                <a:solidFill>
                  <a:srgbClr val="FFFFFF"/>
                </a:solidFill>
                <a:effectLst/>
                <a:latin typeface="+mj-lt"/>
                <a:ea typeface="Times New Roman"/>
                <a:cs typeface="Times New Roman"/>
              </a:rPr>
              <a:t>Master classes</a:t>
            </a:r>
            <a:endParaRPr lang="da-DK" sz="1150">
              <a:effectLst/>
              <a:latin typeface="+mj-lt"/>
              <a:ea typeface="Times New Roman"/>
            </a:endParaRPr>
          </a:p>
        </p:txBody>
      </p:sp>
      <p:cxnSp>
        <p:nvCxnSpPr>
          <p:cNvPr id="17" name="Lige pilforbindelse 16"/>
          <p:cNvCxnSpPr/>
          <p:nvPr/>
        </p:nvCxnSpPr>
        <p:spPr bwMode="auto">
          <a:xfrm>
            <a:off x="425349" y="3999945"/>
            <a:ext cx="8280920" cy="0"/>
          </a:xfrm>
          <a:prstGeom prst="straightConnector1">
            <a:avLst/>
          </a:prstGeom>
          <a:ln w="19050">
            <a:solidFill>
              <a:srgbClr val="00542E"/>
            </a:solidFill>
            <a:prstDash val="sysDash"/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Box 8"/>
          <p:cNvSpPr txBox="1"/>
          <p:nvPr/>
        </p:nvSpPr>
        <p:spPr>
          <a:xfrm>
            <a:off x="425347" y="4194378"/>
            <a:ext cx="1113460" cy="743806"/>
          </a:xfrm>
          <a:prstGeom prst="rect">
            <a:avLst/>
          </a:prstGeom>
          <a:solidFill>
            <a:srgbClr val="00542E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da-DK" sz="1150" dirty="0" err="1">
                <a:solidFill>
                  <a:schemeClr val="bg1"/>
                </a:solidFill>
                <a:latin typeface="+mj-lt"/>
                <a:ea typeface="Times New Roman"/>
              </a:rPr>
              <a:t>Talented</a:t>
            </a:r>
            <a:r>
              <a:rPr lang="da-DK" sz="1150" dirty="0">
                <a:solidFill>
                  <a:schemeClr val="bg1"/>
                </a:solidFill>
                <a:latin typeface="+mj-lt"/>
                <a:ea typeface="Times New Roman"/>
              </a:rPr>
              <a:t> </a:t>
            </a:r>
            <a:r>
              <a:rPr lang="da-DK" sz="1150" dirty="0" err="1">
                <a:solidFill>
                  <a:schemeClr val="bg1"/>
                </a:solidFill>
                <a:latin typeface="+mj-lt"/>
                <a:ea typeface="Times New Roman"/>
              </a:rPr>
              <a:t>employees</a:t>
            </a:r>
            <a:endParaRPr lang="da-DK" sz="1150" dirty="0">
              <a:solidFill>
                <a:schemeClr val="bg1"/>
              </a:solidFill>
              <a:effectLst/>
              <a:latin typeface="+mj-lt"/>
              <a:ea typeface="Times New Roman"/>
            </a:endParaRPr>
          </a:p>
        </p:txBody>
      </p:sp>
      <p:sp>
        <p:nvSpPr>
          <p:cNvPr id="19" name="TextBox 8"/>
          <p:cNvSpPr txBox="1"/>
          <p:nvPr/>
        </p:nvSpPr>
        <p:spPr>
          <a:xfrm>
            <a:off x="1603553" y="4204219"/>
            <a:ext cx="1246484" cy="736949"/>
          </a:xfrm>
          <a:prstGeom prst="rect">
            <a:avLst/>
          </a:prstGeom>
          <a:solidFill>
            <a:srgbClr val="00542E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da-DK" sz="1150" kern="1200" dirty="0" err="1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Newly</a:t>
            </a: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 </a:t>
            </a:r>
            <a:r>
              <a:rPr lang="da-DK" sz="1150" kern="1200" dirty="0" err="1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appointed</a:t>
            </a: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 managers/team managers</a:t>
            </a:r>
            <a:endParaRPr lang="da-DK" sz="1150" dirty="0">
              <a:effectLst/>
              <a:latin typeface="+mj-lt"/>
              <a:ea typeface="Times New Roman"/>
            </a:endParaRPr>
          </a:p>
        </p:txBody>
      </p:sp>
      <p:sp>
        <p:nvSpPr>
          <p:cNvPr id="20" name="TextBox 8"/>
          <p:cNvSpPr txBox="1"/>
          <p:nvPr/>
        </p:nvSpPr>
        <p:spPr>
          <a:xfrm>
            <a:off x="2899080" y="4204222"/>
            <a:ext cx="1298421" cy="736948"/>
          </a:xfrm>
          <a:prstGeom prst="rect">
            <a:avLst/>
          </a:prstGeom>
          <a:solidFill>
            <a:srgbClr val="00542E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a-DK" sz="1150" kern="1200" dirty="0" err="1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Experienced</a:t>
            </a: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 managers</a:t>
            </a:r>
            <a:endParaRPr lang="da-DK" sz="1150" dirty="0">
              <a:effectLst/>
              <a:latin typeface="+mj-lt"/>
              <a:ea typeface="Times New Roman"/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4273815" y="4204219"/>
            <a:ext cx="1365256" cy="736949"/>
          </a:xfrm>
          <a:prstGeom prst="rect">
            <a:avLst/>
          </a:prstGeom>
          <a:solidFill>
            <a:srgbClr val="00542E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ts val="0"/>
              </a:spcBef>
              <a:spcAft>
                <a:spcPts val="0"/>
              </a:spcAft>
            </a:pPr>
            <a:r>
              <a:rPr lang="da-DK" sz="1150" dirty="0" err="1">
                <a:solidFill>
                  <a:schemeClr val="bg1"/>
                </a:solidFill>
                <a:effectLst/>
                <a:latin typeface="+mj-lt"/>
                <a:ea typeface="Times New Roman"/>
              </a:rPr>
              <a:t>Dep</a:t>
            </a:r>
            <a:r>
              <a:rPr lang="da-DK" sz="1150" dirty="0">
                <a:solidFill>
                  <a:schemeClr val="bg1"/>
                </a:solidFill>
                <a:effectLst/>
                <a:latin typeface="+mj-lt"/>
                <a:ea typeface="Times New Roman"/>
              </a:rPr>
              <a:t>. permanent </a:t>
            </a:r>
            <a:r>
              <a:rPr lang="da-DK" sz="1150" dirty="0" err="1">
                <a:solidFill>
                  <a:schemeClr val="bg1"/>
                </a:solidFill>
                <a:effectLst/>
                <a:latin typeface="+mj-lt"/>
                <a:ea typeface="Times New Roman"/>
              </a:rPr>
              <a:t>secretaries</a:t>
            </a:r>
            <a:r>
              <a:rPr lang="da-DK" sz="1150" dirty="0">
                <a:solidFill>
                  <a:schemeClr val="bg1"/>
                </a:solidFill>
                <a:effectLst/>
                <a:latin typeface="+mj-lt"/>
                <a:ea typeface="Times New Roman"/>
              </a:rPr>
              <a:t>/</a:t>
            </a:r>
            <a:r>
              <a:rPr lang="da-DK" sz="1150" dirty="0" err="1">
                <a:solidFill>
                  <a:schemeClr val="bg1"/>
                </a:solidFill>
                <a:effectLst/>
                <a:latin typeface="+mj-lt"/>
                <a:ea typeface="Times New Roman"/>
              </a:rPr>
              <a:t>dep</a:t>
            </a:r>
            <a:r>
              <a:rPr lang="da-DK" sz="1150" dirty="0">
                <a:solidFill>
                  <a:schemeClr val="bg1"/>
                </a:solidFill>
                <a:effectLst/>
                <a:latin typeface="+mj-lt"/>
                <a:ea typeface="Times New Roman"/>
              </a:rPr>
              <a:t>. dir. generals</a:t>
            </a:r>
          </a:p>
        </p:txBody>
      </p:sp>
      <p:sp>
        <p:nvSpPr>
          <p:cNvPr id="22" name="TextBox 8"/>
          <p:cNvSpPr txBox="1"/>
          <p:nvPr/>
        </p:nvSpPr>
        <p:spPr>
          <a:xfrm>
            <a:off x="5729656" y="4194377"/>
            <a:ext cx="1387819" cy="736949"/>
          </a:xfrm>
          <a:prstGeom prst="rect">
            <a:avLst/>
          </a:prstGeom>
          <a:solidFill>
            <a:srgbClr val="00542E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da-DK" sz="1150" kern="1200" dirty="0" err="1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Dep</a:t>
            </a: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. permanent </a:t>
            </a:r>
            <a:r>
              <a:rPr lang="da-DK" sz="1150" kern="1200" dirty="0" err="1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secretaries</a:t>
            </a:r>
            <a:r>
              <a:rPr lang="da-DK" sz="1150" dirty="0">
                <a:solidFill>
                  <a:srgbClr val="FFFFFF"/>
                </a:solidFill>
                <a:latin typeface="+mj-lt"/>
                <a:ea typeface="Times New Roman"/>
                <a:cs typeface="Arial"/>
              </a:rPr>
              <a:t>/</a:t>
            </a:r>
            <a:r>
              <a:rPr lang="da-DK" sz="1150" dirty="0" err="1">
                <a:solidFill>
                  <a:srgbClr val="FFFFFF"/>
                </a:solidFill>
                <a:latin typeface="+mj-lt"/>
                <a:ea typeface="Times New Roman"/>
                <a:cs typeface="Arial"/>
              </a:rPr>
              <a:t>dep</a:t>
            </a:r>
            <a:r>
              <a:rPr lang="da-DK" sz="1150" dirty="0">
                <a:solidFill>
                  <a:srgbClr val="FFFFFF"/>
                </a:solidFill>
                <a:latin typeface="+mj-lt"/>
                <a:ea typeface="Times New Roman"/>
                <a:cs typeface="Arial"/>
              </a:rPr>
              <a:t>. dir. generals</a:t>
            </a: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 </a:t>
            </a:r>
            <a:endParaRPr lang="da-DK" sz="1150" dirty="0">
              <a:effectLst/>
              <a:latin typeface="+mj-lt"/>
              <a:ea typeface="Times New Roman"/>
            </a:endParaRPr>
          </a:p>
        </p:txBody>
      </p:sp>
      <p:sp>
        <p:nvSpPr>
          <p:cNvPr id="23" name="TextBox 8"/>
          <p:cNvSpPr txBox="1"/>
          <p:nvPr/>
        </p:nvSpPr>
        <p:spPr>
          <a:xfrm>
            <a:off x="7170466" y="4204219"/>
            <a:ext cx="1535803" cy="736949"/>
          </a:xfrm>
          <a:prstGeom prst="rect">
            <a:avLst/>
          </a:prstGeom>
          <a:solidFill>
            <a:srgbClr val="00542E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Permanent </a:t>
            </a:r>
            <a:r>
              <a:rPr lang="da-DK" sz="1150" kern="1200" dirty="0" err="1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secretaries</a:t>
            </a: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/ </a:t>
            </a:r>
            <a:r>
              <a:rPr lang="da-DK" sz="1150" kern="1200" dirty="0" err="1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director</a:t>
            </a:r>
            <a:r>
              <a:rPr lang="da-DK" sz="1150" kern="1200" dirty="0">
                <a:solidFill>
                  <a:srgbClr val="FFFFFF"/>
                </a:solidFill>
                <a:effectLst/>
                <a:latin typeface="+mj-lt"/>
                <a:ea typeface="Times New Roman"/>
                <a:cs typeface="Arial"/>
              </a:rPr>
              <a:t> generals</a:t>
            </a:r>
            <a:endParaRPr lang="da-DK" sz="1150" dirty="0">
              <a:effectLst/>
              <a:latin typeface="+mj-lt"/>
              <a:ea typeface="Times New Roman"/>
            </a:endParaRPr>
          </a:p>
        </p:txBody>
      </p:sp>
      <p:cxnSp>
        <p:nvCxnSpPr>
          <p:cNvPr id="24" name="Lige forbindelse 23"/>
          <p:cNvCxnSpPr>
            <a:stCxn id="18" idx="0"/>
            <a:endCxn id="6" idx="2"/>
          </p:cNvCxnSpPr>
          <p:nvPr/>
        </p:nvCxnSpPr>
        <p:spPr bwMode="auto">
          <a:xfrm flipV="1">
            <a:off x="982077" y="3704306"/>
            <a:ext cx="0" cy="4900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542E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Lige forbindelse 24"/>
          <p:cNvCxnSpPr/>
          <p:nvPr/>
        </p:nvCxnSpPr>
        <p:spPr bwMode="auto">
          <a:xfrm flipV="1">
            <a:off x="2194155" y="3718838"/>
            <a:ext cx="0" cy="47553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542E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Lige forbindelse 25"/>
          <p:cNvCxnSpPr>
            <a:stCxn id="20" idx="0"/>
          </p:cNvCxnSpPr>
          <p:nvPr/>
        </p:nvCxnSpPr>
        <p:spPr bwMode="auto">
          <a:xfrm flipH="1" flipV="1">
            <a:off x="3523771" y="3718838"/>
            <a:ext cx="24520" cy="48538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542E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Lige forbindelse 26"/>
          <p:cNvCxnSpPr/>
          <p:nvPr/>
        </p:nvCxnSpPr>
        <p:spPr bwMode="auto">
          <a:xfrm flipV="1">
            <a:off x="4882371" y="3718838"/>
            <a:ext cx="0" cy="47553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542E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Lige forbindelse 27"/>
          <p:cNvCxnSpPr>
            <a:stCxn id="22" idx="0"/>
          </p:cNvCxnSpPr>
          <p:nvPr/>
        </p:nvCxnSpPr>
        <p:spPr bwMode="auto">
          <a:xfrm flipV="1">
            <a:off x="6423566" y="3718839"/>
            <a:ext cx="0" cy="47553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542E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Lige forbindelse 28"/>
          <p:cNvCxnSpPr/>
          <p:nvPr/>
        </p:nvCxnSpPr>
        <p:spPr bwMode="auto">
          <a:xfrm flipV="1">
            <a:off x="7885773" y="3713050"/>
            <a:ext cx="0" cy="48132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542E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49253534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e </a:t>
            </a:r>
            <a:r>
              <a:rPr lang="da-DK" dirty="0" err="1"/>
              <a:t>Direction</a:t>
            </a:r>
            <a:r>
              <a:rPr lang="da-DK" dirty="0"/>
              <a:t> of PLUS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6ECE14-DE6A-47DB-A2E9-53D91F6F3E38}" type="slidenum">
              <a:rPr lang="da-DK" smtClean="0"/>
              <a:pPr/>
              <a:t>5</a:t>
            </a:fld>
            <a:endParaRPr lang="da-DK"/>
          </a:p>
        </p:txBody>
      </p:sp>
      <p:grpSp>
        <p:nvGrpSpPr>
          <p:cNvPr id="5" name="Gruppe 4"/>
          <p:cNvGrpSpPr/>
          <p:nvPr/>
        </p:nvGrpSpPr>
        <p:grpSpPr>
          <a:xfrm>
            <a:off x="956873" y="1039721"/>
            <a:ext cx="7370330" cy="5037070"/>
            <a:chOff x="91400" y="-4599"/>
            <a:chExt cx="2639712" cy="1779854"/>
          </a:xfrm>
        </p:grpSpPr>
        <p:sp>
          <p:nvSpPr>
            <p:cNvPr id="6" name="Oval 13"/>
            <p:cNvSpPr/>
            <p:nvPr/>
          </p:nvSpPr>
          <p:spPr>
            <a:xfrm>
              <a:off x="609600" y="686991"/>
              <a:ext cx="1533600" cy="1088264"/>
            </a:xfrm>
            <a:prstGeom prst="ellipse">
              <a:avLst/>
            </a:prstGeom>
            <a:solidFill>
              <a:srgbClr val="7CC4AC">
                <a:alpha val="60784"/>
              </a:srgbClr>
            </a:solidFill>
            <a:ln w="12700" cap="rnd" cmpd="sng" algn="ctr">
              <a:noFill/>
              <a:prstDash val="sysDash"/>
              <a:round/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rtlCol="0" anchor="ctr"/>
            <a:lstStyle/>
            <a:p>
              <a:pPr algn="ctr" eaLnBrk="0" fontAlgn="base" hangingPunct="0">
                <a:spcAft>
                  <a:spcPts val="0"/>
                </a:spcAft>
              </a:pPr>
              <a:endParaRPr lang="da-DK" sz="2400" b="1" dirty="0">
                <a:solidFill>
                  <a:srgbClr val="002060"/>
                </a:solidFill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7" name="Oval 13"/>
            <p:cNvSpPr/>
            <p:nvPr/>
          </p:nvSpPr>
          <p:spPr>
            <a:xfrm>
              <a:off x="91400" y="-4599"/>
              <a:ext cx="1583240" cy="1185054"/>
            </a:xfrm>
            <a:prstGeom prst="ellipse">
              <a:avLst/>
            </a:prstGeom>
            <a:solidFill>
              <a:srgbClr val="AFC8E9">
                <a:alpha val="60784"/>
              </a:srgbClr>
            </a:solidFill>
            <a:ln w="12700" cap="rnd" cmpd="sng" algn="ctr">
              <a:noFill/>
              <a:prstDash val="sysDash"/>
              <a:round/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rtlCol="0" anchor="ctr"/>
            <a:lstStyle/>
            <a:p>
              <a:pPr algn="ctr" eaLnBrk="0" fontAlgn="base" hangingPunct="0">
                <a:spcAft>
                  <a:spcPts val="0"/>
                </a:spcAft>
              </a:pPr>
              <a:endParaRPr lang="da-DK" sz="1400" b="1" dirty="0">
                <a:solidFill>
                  <a:srgbClr val="002060"/>
                </a:solidFill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8" name="Oval 13"/>
            <p:cNvSpPr/>
            <p:nvPr/>
          </p:nvSpPr>
          <p:spPr>
            <a:xfrm>
              <a:off x="1102483" y="27037"/>
              <a:ext cx="1628629" cy="1185054"/>
            </a:xfrm>
            <a:prstGeom prst="ellipse">
              <a:avLst/>
            </a:prstGeom>
            <a:solidFill>
              <a:srgbClr val="D4EBEA">
                <a:alpha val="60392"/>
              </a:srgbClr>
            </a:solidFill>
            <a:ln w="12700" cap="rnd" cmpd="sng" algn="ctr">
              <a:noFill/>
              <a:prstDash val="sysDash"/>
              <a:round/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rtlCol="0" anchor="ctr"/>
            <a:lstStyle/>
            <a:p>
              <a:pPr algn="ctr" eaLnBrk="0" fontAlgn="base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a-DK" sz="1600" b="1" kern="1200" dirty="0">
                <a:solidFill>
                  <a:srgbClr val="002060"/>
                </a:solidFill>
                <a:effectLst/>
                <a:latin typeface="Garamond" panose="02020404030301010803" pitchFamily="18" charset="0"/>
                <a:ea typeface="Times New Roman"/>
                <a:cs typeface="Times New Roman"/>
              </a:endParaRPr>
            </a:p>
          </p:txBody>
        </p:sp>
      </p:grpSp>
      <p:sp>
        <p:nvSpPr>
          <p:cNvPr id="9" name="Tekstboks 8"/>
          <p:cNvSpPr txBox="1"/>
          <p:nvPr/>
        </p:nvSpPr>
        <p:spPr>
          <a:xfrm>
            <a:off x="5513377" y="2297197"/>
            <a:ext cx="234463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a-DK" sz="1400" dirty="0" err="1">
                <a:solidFill>
                  <a:srgbClr val="002060"/>
                </a:solidFill>
                <a:latin typeface="+mj-lt"/>
                <a:ea typeface="Times New Roman"/>
                <a:cs typeface="Times New Roman"/>
              </a:rPr>
              <a:t>Crossgovernmental</a:t>
            </a:r>
            <a:r>
              <a:rPr lang="da-DK" sz="1400" dirty="0">
                <a:solidFill>
                  <a:srgbClr val="002060"/>
                </a:solidFill>
                <a:latin typeface="+mj-lt"/>
                <a:ea typeface="Times New Roman"/>
                <a:cs typeface="Times New Roman"/>
              </a:rPr>
              <a:t> focus areas</a:t>
            </a:r>
          </a:p>
        </p:txBody>
      </p:sp>
      <p:sp>
        <p:nvSpPr>
          <p:cNvPr id="10" name="Tekstboks 9"/>
          <p:cNvSpPr txBox="1"/>
          <p:nvPr/>
        </p:nvSpPr>
        <p:spPr>
          <a:xfrm>
            <a:off x="1186622" y="2204864"/>
            <a:ext cx="259329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a-DK" sz="1400" dirty="0">
                <a:solidFill>
                  <a:srgbClr val="002060"/>
                </a:solidFill>
                <a:latin typeface="+mj-lt"/>
                <a:ea typeface="Times New Roman"/>
                <a:cs typeface="Times New Roman"/>
              </a:rPr>
              <a:t>Strategic focus and core tasks of the organisations</a:t>
            </a:r>
          </a:p>
        </p:txBody>
      </p:sp>
      <p:sp>
        <p:nvSpPr>
          <p:cNvPr id="11" name="Tekstboks 10"/>
          <p:cNvSpPr txBox="1"/>
          <p:nvPr/>
        </p:nvSpPr>
        <p:spPr>
          <a:xfrm>
            <a:off x="2970769" y="4736362"/>
            <a:ext cx="316960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a-DK" sz="1400" dirty="0">
                <a:solidFill>
                  <a:srgbClr val="002060"/>
                </a:solidFill>
                <a:latin typeface="+mj-lt"/>
                <a:ea typeface="Times New Roman"/>
                <a:cs typeface="Times New Roman"/>
              </a:rPr>
              <a:t>Professional </a:t>
            </a:r>
            <a:r>
              <a:rPr lang="da-DK" sz="1400" dirty="0" err="1">
                <a:solidFill>
                  <a:srgbClr val="002060"/>
                </a:solidFill>
                <a:latin typeface="+mj-lt"/>
                <a:ea typeface="Times New Roman"/>
                <a:cs typeface="Times New Roman"/>
              </a:rPr>
              <a:t>Leadership</a:t>
            </a:r>
            <a:r>
              <a:rPr lang="da-DK" sz="1400" dirty="0">
                <a:solidFill>
                  <a:srgbClr val="002060"/>
                </a:solidFill>
                <a:latin typeface="+mj-lt"/>
                <a:ea typeface="Times New Roman"/>
                <a:cs typeface="Times New Roman"/>
              </a:rPr>
              <a:t> </a:t>
            </a:r>
          </a:p>
        </p:txBody>
      </p:sp>
      <p:sp>
        <p:nvSpPr>
          <p:cNvPr id="12" name="Tekstboks 11"/>
          <p:cNvSpPr txBox="1"/>
          <p:nvPr/>
        </p:nvSpPr>
        <p:spPr>
          <a:xfrm>
            <a:off x="3275354" y="3022581"/>
            <a:ext cx="259329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a-DK" sz="1400" b="1" dirty="0" err="1">
                <a:solidFill>
                  <a:srgbClr val="002060"/>
                </a:solidFill>
                <a:latin typeface="+mj-lt"/>
                <a:ea typeface="Times New Roman"/>
                <a:cs typeface="Times New Roman"/>
              </a:rPr>
              <a:t>Holistic</a:t>
            </a:r>
            <a:r>
              <a:rPr lang="da-DK" sz="1400" b="1" dirty="0">
                <a:solidFill>
                  <a:srgbClr val="002060"/>
                </a:solidFill>
                <a:latin typeface="+mj-lt"/>
                <a:ea typeface="Times New Roman"/>
                <a:cs typeface="Times New Roman"/>
              </a:rPr>
              <a:t> </a:t>
            </a:r>
            <a:r>
              <a:rPr lang="da-DK" sz="1400" b="1" dirty="0" err="1">
                <a:solidFill>
                  <a:srgbClr val="002060"/>
                </a:solidFill>
                <a:latin typeface="+mj-lt"/>
                <a:ea typeface="Times New Roman"/>
                <a:cs typeface="Times New Roman"/>
              </a:rPr>
              <a:t>Understanding</a:t>
            </a:r>
            <a:endParaRPr lang="da-DK" sz="1400" b="1" dirty="0">
              <a:solidFill>
                <a:srgbClr val="002060"/>
              </a:solidFill>
              <a:latin typeface="+mj-lt"/>
              <a:ea typeface="Times New Roman"/>
              <a:cs typeface="Times New Roman"/>
            </a:endParaRPr>
          </a:p>
          <a:p>
            <a:pPr algn="ctr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a-DK" sz="1400" b="1" dirty="0">
                <a:solidFill>
                  <a:srgbClr val="002060"/>
                </a:solidFill>
                <a:latin typeface="+mj-lt"/>
                <a:ea typeface="Times New Roman"/>
                <a:cs typeface="Times New Roman"/>
              </a:rPr>
              <a:t>Innovation</a:t>
            </a:r>
          </a:p>
          <a:p>
            <a:pPr algn="ctr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a-DK" sz="1400" b="1" dirty="0" err="1">
                <a:solidFill>
                  <a:srgbClr val="002060"/>
                </a:solidFill>
                <a:ea typeface="Times New Roman"/>
                <a:cs typeface="Times New Roman"/>
              </a:rPr>
              <a:t>Reflection</a:t>
            </a:r>
            <a:endParaRPr lang="da-DK" sz="1400" b="1" dirty="0">
              <a:solidFill>
                <a:srgbClr val="002060"/>
              </a:solidFill>
              <a:ea typeface="Times New Roman"/>
              <a:cs typeface="Times New Roman"/>
            </a:endParaRPr>
          </a:p>
          <a:p>
            <a:pPr algn="ctr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a-DK" sz="1400" b="1" dirty="0" err="1">
                <a:solidFill>
                  <a:srgbClr val="002060"/>
                </a:solidFill>
                <a:latin typeface="+mj-lt"/>
                <a:ea typeface="Times New Roman"/>
                <a:cs typeface="Times New Roman"/>
              </a:rPr>
              <a:t>Ability</a:t>
            </a:r>
            <a:r>
              <a:rPr lang="da-DK" sz="1400" b="1" dirty="0">
                <a:solidFill>
                  <a:srgbClr val="002060"/>
                </a:solidFill>
                <a:latin typeface="+mj-lt"/>
                <a:ea typeface="Times New Roman"/>
                <a:cs typeface="Times New Roman"/>
              </a:rPr>
              <a:t> to Act</a:t>
            </a:r>
          </a:p>
        </p:txBody>
      </p:sp>
    </p:spTree>
    <p:extLst>
      <p:ext uri="{BB962C8B-B14F-4D97-AF65-F5344CB8AC3E}">
        <p14:creationId xmlns:p14="http://schemas.microsoft.com/office/powerpoint/2010/main" val="13497663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7" y="538163"/>
            <a:ext cx="8568952" cy="805495"/>
          </a:xfrm>
        </p:spPr>
        <p:txBody>
          <a:bodyPr/>
          <a:lstStyle/>
          <a:p>
            <a:r>
              <a:rPr lang="da-DK" sz="2400" dirty="0"/>
              <a:t> INSPIRATION: A New </a:t>
            </a:r>
            <a:r>
              <a:rPr lang="da-DK" sz="2400" dirty="0" err="1"/>
              <a:t>Synthesis</a:t>
            </a:r>
            <a:r>
              <a:rPr lang="da-DK" sz="2400" dirty="0"/>
              <a:t> of Public Administration</a:t>
            </a:r>
            <a:br>
              <a:rPr lang="da-DK" sz="2400" dirty="0"/>
            </a:br>
            <a:endParaRPr lang="da-DK" sz="2400" dirty="0"/>
          </a:p>
        </p:txBody>
      </p:sp>
      <p:grpSp>
        <p:nvGrpSpPr>
          <p:cNvPr id="3" name="Group 2"/>
          <p:cNvGrpSpPr/>
          <p:nvPr/>
        </p:nvGrpSpPr>
        <p:grpSpPr>
          <a:xfrm>
            <a:off x="1403648" y="1602930"/>
            <a:ext cx="6192687" cy="4130326"/>
            <a:chOff x="2434855" y="1935615"/>
            <a:chExt cx="4241081" cy="3142151"/>
          </a:xfrm>
        </p:grpSpPr>
        <p:sp>
          <p:nvSpPr>
            <p:cNvPr id="51" name="Højrepil 50"/>
            <p:cNvSpPr/>
            <p:nvPr/>
          </p:nvSpPr>
          <p:spPr>
            <a:xfrm rot="16200000">
              <a:off x="3838710" y="2595316"/>
              <a:ext cx="1445495" cy="126093"/>
            </a:xfrm>
            <a:prstGeom prst="rightArrow">
              <a:avLst/>
            </a:prstGeom>
            <a:solidFill>
              <a:srgbClr val="00542E"/>
            </a:solidFill>
            <a:ln>
              <a:solidFill>
                <a:srgbClr val="0054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2" name="Højrepil 51"/>
            <p:cNvSpPr/>
            <p:nvPr/>
          </p:nvSpPr>
          <p:spPr>
            <a:xfrm>
              <a:off x="4871840" y="3439397"/>
              <a:ext cx="1804096" cy="101029"/>
            </a:xfrm>
            <a:prstGeom prst="rightArrow">
              <a:avLst/>
            </a:prstGeom>
            <a:solidFill>
              <a:srgbClr val="00542E"/>
            </a:solidFill>
            <a:ln>
              <a:solidFill>
                <a:srgbClr val="0054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3" name="Højrepil 52"/>
            <p:cNvSpPr/>
            <p:nvPr/>
          </p:nvSpPr>
          <p:spPr>
            <a:xfrm rot="5400000">
              <a:off x="3838710" y="4291972"/>
              <a:ext cx="1445495" cy="126093"/>
            </a:xfrm>
            <a:prstGeom prst="rightArrow">
              <a:avLst/>
            </a:prstGeom>
            <a:solidFill>
              <a:srgbClr val="00542E"/>
            </a:solidFill>
            <a:ln>
              <a:solidFill>
                <a:srgbClr val="0054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54" name="Højrepil 53"/>
            <p:cNvSpPr/>
            <p:nvPr/>
          </p:nvSpPr>
          <p:spPr>
            <a:xfrm rot="10800000">
              <a:off x="2434855" y="3439397"/>
              <a:ext cx="1804096" cy="101029"/>
            </a:xfrm>
            <a:prstGeom prst="rightArrow">
              <a:avLst/>
            </a:prstGeom>
            <a:solidFill>
              <a:srgbClr val="00542E"/>
            </a:solidFill>
            <a:ln>
              <a:solidFill>
                <a:srgbClr val="0054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pic>
          <p:nvPicPr>
            <p:cNvPr id="43" name="Billede 4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66" t="25199" r="10842" b="46452"/>
            <a:stretch/>
          </p:blipFill>
          <p:spPr>
            <a:xfrm>
              <a:off x="2570312" y="2393490"/>
              <a:ext cx="1607059" cy="859258"/>
            </a:xfrm>
            <a:prstGeom prst="rect">
              <a:avLst/>
            </a:prstGeom>
          </p:spPr>
        </p:pic>
        <p:pic>
          <p:nvPicPr>
            <p:cNvPr id="44" name="Billede 43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917"/>
            <a:stretch/>
          </p:blipFill>
          <p:spPr>
            <a:xfrm>
              <a:off x="4869892" y="2389154"/>
              <a:ext cx="1611358" cy="853334"/>
            </a:xfrm>
            <a:prstGeom prst="rect">
              <a:avLst/>
            </a:prstGeom>
          </p:spPr>
        </p:pic>
        <p:pic>
          <p:nvPicPr>
            <p:cNvPr id="45" name="Billede 44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62" t="31084" r="49087" b="39615"/>
            <a:stretch/>
          </p:blipFill>
          <p:spPr>
            <a:xfrm>
              <a:off x="2551586" y="3823254"/>
              <a:ext cx="1625786" cy="865979"/>
            </a:xfrm>
            <a:prstGeom prst="rect">
              <a:avLst/>
            </a:prstGeom>
          </p:spPr>
        </p:pic>
        <p:pic>
          <p:nvPicPr>
            <p:cNvPr id="46" name="Billede 4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97235" y="3806299"/>
              <a:ext cx="1611358" cy="882934"/>
            </a:xfrm>
            <a:prstGeom prst="rect">
              <a:avLst/>
            </a:prstGeom>
          </p:spPr>
        </p:pic>
        <p:sp>
          <p:nvSpPr>
            <p:cNvPr id="47" name="Tekstfelt 31"/>
            <p:cNvSpPr txBox="1"/>
            <p:nvPr/>
          </p:nvSpPr>
          <p:spPr>
            <a:xfrm>
              <a:off x="2615756" y="2021201"/>
              <a:ext cx="1516171" cy="2978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800" b="1" dirty="0">
                  <a:solidFill>
                    <a:srgbClr val="00542E"/>
                  </a:solidFill>
                  <a:latin typeface="Calibri Light" charset="0"/>
                  <a:ea typeface="Calibri Light" charset="0"/>
                  <a:cs typeface="Calibri Light" charset="0"/>
                </a:rPr>
                <a:t>PERFORMANCE</a:t>
              </a:r>
              <a:endParaRPr lang="da-DK" sz="1200" b="1" dirty="0">
                <a:solidFill>
                  <a:srgbClr val="00542E"/>
                </a:solidFill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48" name="Tekstfelt 32"/>
            <p:cNvSpPr txBox="1"/>
            <p:nvPr/>
          </p:nvSpPr>
          <p:spPr>
            <a:xfrm>
              <a:off x="4917679" y="2013554"/>
              <a:ext cx="1516171" cy="2978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800" b="1" dirty="0">
                  <a:solidFill>
                    <a:srgbClr val="00542E"/>
                  </a:solidFill>
                  <a:latin typeface="Calibri Light" charset="0"/>
                  <a:ea typeface="Calibri Light" charset="0"/>
                  <a:cs typeface="Calibri Light" charset="0"/>
                </a:rPr>
                <a:t>EMERGENCE</a:t>
              </a:r>
            </a:p>
          </p:txBody>
        </p:sp>
        <p:sp>
          <p:nvSpPr>
            <p:cNvPr id="49" name="Tekstfelt 33"/>
            <p:cNvSpPr txBox="1"/>
            <p:nvPr/>
          </p:nvSpPr>
          <p:spPr>
            <a:xfrm>
              <a:off x="2551169" y="4749085"/>
              <a:ext cx="1516171" cy="2978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800" b="1" dirty="0">
                  <a:solidFill>
                    <a:srgbClr val="00542E"/>
                  </a:solidFill>
                  <a:latin typeface="Calibri Light" charset="0"/>
                  <a:ea typeface="Calibri Light" charset="0"/>
                  <a:cs typeface="Calibri Light" charset="0"/>
                </a:rPr>
                <a:t>COMPLIANCE</a:t>
              </a:r>
              <a:endParaRPr lang="da-DK" sz="1200" b="1" dirty="0">
                <a:solidFill>
                  <a:srgbClr val="00542E"/>
                </a:solidFill>
                <a:latin typeface="Calibri Light" charset="0"/>
                <a:ea typeface="Calibri Light" charset="0"/>
                <a:cs typeface="Calibri Light" charset="0"/>
              </a:endParaRPr>
            </a:p>
          </p:txBody>
        </p:sp>
        <p:sp>
          <p:nvSpPr>
            <p:cNvPr id="50" name="Tekstfelt 34"/>
            <p:cNvSpPr txBox="1"/>
            <p:nvPr/>
          </p:nvSpPr>
          <p:spPr>
            <a:xfrm>
              <a:off x="4992064" y="4749085"/>
              <a:ext cx="1516171" cy="2978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sz="1800" b="1" dirty="0">
                  <a:solidFill>
                    <a:srgbClr val="00542E"/>
                  </a:solidFill>
                  <a:latin typeface="Calibri Light" charset="0"/>
                  <a:ea typeface="Calibri Light" charset="0"/>
                  <a:cs typeface="Calibri Light" charset="0"/>
                </a:rPr>
                <a:t>RESILIENCE</a:t>
              </a:r>
            </a:p>
          </p:txBody>
        </p:sp>
      </p:grpSp>
      <p:sp>
        <p:nvSpPr>
          <p:cNvPr id="38" name="Rectangle 1"/>
          <p:cNvSpPr>
            <a:spLocks noChangeArrowheads="1"/>
          </p:cNvSpPr>
          <p:nvPr/>
        </p:nvSpPr>
        <p:spPr bwMode="auto">
          <a:xfrm>
            <a:off x="395536" y="6309320"/>
            <a:ext cx="404758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527300" algn="l"/>
              </a:tabLst>
            </a:pPr>
            <a:r>
              <a:rPr kumimoji="0" lang="da-DK" sz="12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 Light" charset="0"/>
                <a:ea typeface="Calibri Light" charset="0"/>
                <a:cs typeface="Calibri Light" charset="0"/>
              </a:rPr>
              <a:t>Kilde: A </a:t>
            </a:r>
            <a:r>
              <a:rPr kumimoji="0" lang="da-DK" sz="120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 Light" charset="0"/>
                <a:ea typeface="Calibri Light" charset="0"/>
                <a:cs typeface="Calibri Light" charset="0"/>
              </a:rPr>
              <a:t>Unifying</a:t>
            </a:r>
            <a:r>
              <a:rPr kumimoji="0" lang="da-DK" sz="12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 Light" charset="0"/>
                <a:ea typeface="Calibri Light" charset="0"/>
                <a:cs typeface="Calibri Light" charset="0"/>
              </a:rPr>
              <a:t> Framework (Jocelyn </a:t>
            </a:r>
            <a:r>
              <a:rPr kumimoji="0" lang="da-DK" sz="120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 Light" charset="0"/>
                <a:ea typeface="Calibri Light" charset="0"/>
                <a:cs typeface="Calibri Light" charset="0"/>
              </a:rPr>
              <a:t>Bourgon</a:t>
            </a:r>
            <a:r>
              <a:rPr kumimoji="0" lang="da-DK" sz="12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 Light" charset="0"/>
                <a:ea typeface="Calibri Light" charset="0"/>
                <a:cs typeface="Calibri Light" charset="0"/>
              </a:rPr>
              <a:t>, 2010).</a:t>
            </a:r>
          </a:p>
        </p:txBody>
      </p:sp>
    </p:spTree>
    <p:extLst>
      <p:ext uri="{BB962C8B-B14F-4D97-AF65-F5344CB8AC3E}">
        <p14:creationId xmlns:p14="http://schemas.microsoft.com/office/powerpoint/2010/main" val="29272912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ias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7</a:t>
            </a:fld>
            <a:endParaRPr lang="da-DK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701675" y="538163"/>
            <a:ext cx="7739063" cy="920750"/>
          </a:xfrm>
        </p:spPr>
        <p:txBody>
          <a:bodyPr/>
          <a:lstStyle/>
          <a:p>
            <a:r>
              <a:rPr lang="da-DK" dirty="0"/>
              <a:t>Challenges - balances</a:t>
            </a:r>
          </a:p>
        </p:txBody>
      </p:sp>
      <p:sp>
        <p:nvSpPr>
          <p:cNvPr id="8" name="Pladsholder til indhold 3"/>
          <p:cNvSpPr txBox="1">
            <a:spLocks/>
          </p:cNvSpPr>
          <p:nvPr/>
        </p:nvSpPr>
        <p:spPr>
          <a:xfrm>
            <a:off x="4819650" y="1458913"/>
            <a:ext cx="3621087" cy="444341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271463" indent="-2682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SzPct val="95000"/>
              <a:buFont typeface="Verdana" pitchFamily="34" charset="0"/>
              <a:buChar char="●"/>
              <a:defRPr sz="1700">
                <a:solidFill>
                  <a:schemeClr val="tx1"/>
                </a:solidFill>
                <a:latin typeface="+mn-lt"/>
              </a:defRPr>
            </a:lvl3pPr>
            <a:lvl4pPr marL="609600" indent="-336550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har char="–"/>
              <a:defRPr sz="1500">
                <a:solidFill>
                  <a:schemeClr val="tx1"/>
                </a:solidFill>
                <a:latin typeface="+mn-lt"/>
              </a:defRPr>
            </a:lvl4pPr>
            <a:lvl5pPr marL="9144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5pPr>
            <a:lvl6pPr marL="13716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6pPr>
            <a:lvl7pPr marL="18288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7pPr>
            <a:lvl8pPr marL="22860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8pPr>
            <a:lvl9pPr marL="27432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kern="0" dirty="0"/>
              <a:t>In-house ressources/ </a:t>
            </a:r>
            <a:r>
              <a:rPr lang="da-DK" kern="0" dirty="0" err="1"/>
              <a:t>Purchase</a:t>
            </a:r>
            <a:r>
              <a:rPr lang="da-DK" kern="0" dirty="0"/>
              <a:t> of </a:t>
            </a:r>
            <a:r>
              <a:rPr lang="da-DK" kern="0" dirty="0" err="1"/>
              <a:t>consultants</a:t>
            </a:r>
            <a:endParaRPr lang="da-DK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kern="0" dirty="0"/>
              <a:t>The </a:t>
            </a:r>
            <a:r>
              <a:rPr lang="da-DK" kern="0" dirty="0" err="1"/>
              <a:t>role</a:t>
            </a:r>
            <a:r>
              <a:rPr lang="da-DK" kern="0" dirty="0"/>
              <a:t> of MOF: </a:t>
            </a:r>
            <a:r>
              <a:rPr lang="da-DK" kern="0" dirty="0" err="1"/>
              <a:t>Visabilty</a:t>
            </a:r>
            <a:r>
              <a:rPr lang="da-DK" kern="0" dirty="0"/>
              <a:t>/</a:t>
            </a:r>
            <a:r>
              <a:rPr lang="da-DK" kern="0" dirty="0" err="1"/>
              <a:t>Confidential</a:t>
            </a:r>
            <a:r>
              <a:rPr lang="da-DK" kern="0" dirty="0"/>
              <a:t> </a:t>
            </a:r>
            <a:r>
              <a:rPr lang="da-DK" kern="0" dirty="0" err="1"/>
              <a:t>room</a:t>
            </a:r>
            <a:endParaRPr lang="da-DK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kern="0" dirty="0"/>
              <a:t>Content: 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a-DK" kern="0" dirty="0"/>
              <a:t>Cross-</a:t>
            </a:r>
            <a:r>
              <a:rPr lang="da-DK" kern="0" dirty="0" err="1"/>
              <a:t>government</a:t>
            </a:r>
            <a:r>
              <a:rPr lang="da-DK" kern="0" dirty="0"/>
              <a:t> </a:t>
            </a:r>
            <a:r>
              <a:rPr lang="da-DK" kern="0" dirty="0" err="1"/>
              <a:t>focus</a:t>
            </a:r>
            <a:r>
              <a:rPr lang="da-DK" kern="0" dirty="0"/>
              <a:t>/ </a:t>
            </a:r>
            <a:r>
              <a:rPr lang="da-DK" kern="0" dirty="0" err="1"/>
              <a:t>local</a:t>
            </a:r>
            <a:r>
              <a:rPr lang="da-DK" kern="0" dirty="0"/>
              <a:t> or </a:t>
            </a:r>
            <a:r>
              <a:rPr lang="da-DK" kern="0" dirty="0" err="1"/>
              <a:t>personal</a:t>
            </a:r>
            <a:r>
              <a:rPr lang="da-DK" kern="0" dirty="0"/>
              <a:t> </a:t>
            </a:r>
            <a:r>
              <a:rPr lang="da-DK" kern="0" dirty="0" err="1"/>
              <a:t>focus</a:t>
            </a:r>
            <a:r>
              <a:rPr lang="da-DK" kern="0" dirty="0"/>
              <a:t> </a:t>
            </a:r>
          </a:p>
          <a:p>
            <a:pPr marL="557213" lvl="2" indent="-285750">
              <a:buFont typeface="Arial" panose="020B0604020202020204" pitchFamily="34" charset="0"/>
              <a:buChar char="•"/>
            </a:pPr>
            <a:r>
              <a:rPr lang="da-DK" kern="0" dirty="0"/>
              <a:t>Tools/</a:t>
            </a:r>
            <a:r>
              <a:rPr lang="da-DK" kern="0" dirty="0" err="1"/>
              <a:t>theory</a:t>
            </a:r>
            <a:r>
              <a:rPr lang="da-DK" kern="0" dirty="0"/>
              <a:t>/</a:t>
            </a:r>
            <a:r>
              <a:rPr lang="da-DK" kern="0" dirty="0" err="1"/>
              <a:t>training</a:t>
            </a:r>
            <a:r>
              <a:rPr lang="da-DK" kern="0" dirty="0"/>
              <a:t>/</a:t>
            </a:r>
            <a:r>
              <a:rPr lang="da-DK" kern="0" dirty="0" err="1"/>
              <a:t>reflection</a:t>
            </a:r>
            <a:endParaRPr lang="da-DK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kern="0" dirty="0"/>
              <a:t>First-mover/</a:t>
            </a:r>
            <a:r>
              <a:rPr lang="da-DK" kern="0" dirty="0" err="1"/>
              <a:t>Stability</a:t>
            </a:r>
            <a:endParaRPr lang="da-DK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kern="0" dirty="0" err="1"/>
              <a:t>Exclusiveness</a:t>
            </a:r>
            <a:r>
              <a:rPr lang="da-DK" kern="0" dirty="0"/>
              <a:t>/</a:t>
            </a:r>
            <a:r>
              <a:rPr lang="da-DK" kern="0" dirty="0" err="1"/>
              <a:t>Broad</a:t>
            </a:r>
            <a:r>
              <a:rPr lang="da-DK" kern="0" dirty="0"/>
              <a:t> </a:t>
            </a:r>
            <a:r>
              <a:rPr lang="da-DK" kern="0" dirty="0" err="1"/>
              <a:t>effect</a:t>
            </a:r>
            <a:endParaRPr lang="da-DK" kern="0" dirty="0"/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06" r="10077"/>
          <a:stretch/>
        </p:blipFill>
        <p:spPr>
          <a:xfrm>
            <a:off x="701675" y="1492037"/>
            <a:ext cx="4065753" cy="3698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8675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027875\Desktop\Modst skabelon pp\261016 Modst 5798ny.jpg"/>
</p:tagLst>
</file>

<file path=ppt/theme/theme1.xml><?xml version="1.0" encoding="utf-8"?>
<a:theme xmlns:a="http://schemas.openxmlformats.org/drawingml/2006/main" name="Blank">
  <a:themeElements>
    <a:clrScheme name="Moderniseringsstyrelsen">
      <a:dk1>
        <a:srgbClr val="000000"/>
      </a:dk1>
      <a:lt1>
        <a:srgbClr val="FFFFFF"/>
      </a:lt1>
      <a:dk2>
        <a:srgbClr val="00542E"/>
      </a:dk2>
      <a:lt2>
        <a:srgbClr val="6E91A0"/>
      </a:lt2>
      <a:accent1>
        <a:srgbClr val="00AAD2"/>
      </a:accent1>
      <a:accent2>
        <a:srgbClr val="5591CD"/>
      </a:accent2>
      <a:accent3>
        <a:srgbClr val="7050B9"/>
      </a:accent3>
      <a:accent4>
        <a:srgbClr val="A5005F"/>
      </a:accent4>
      <a:accent5>
        <a:srgbClr val="F0005F"/>
      </a:accent5>
      <a:accent6>
        <a:srgbClr val="B06606"/>
      </a:accent6>
      <a:hlink>
        <a:srgbClr val="0000FF"/>
      </a:hlink>
      <a:folHlink>
        <a:srgbClr val="800080"/>
      </a:folHlink>
    </a:clrScheme>
    <a:fontScheme name="DK Finans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sz="17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43</TotalTime>
  <Words>178</Words>
  <Application>Microsoft Office PowerPoint</Application>
  <PresentationFormat>On-screen Show (4:3)</PresentationFormat>
  <Paragraphs>59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 Light</vt:lpstr>
      <vt:lpstr>Garamond</vt:lpstr>
      <vt:lpstr>Times New Roman</vt:lpstr>
      <vt:lpstr>Verdana</vt:lpstr>
      <vt:lpstr>Blank</vt:lpstr>
      <vt:lpstr>think-cell Slide</vt:lpstr>
      <vt:lpstr>Central Government Leadership Development</vt:lpstr>
      <vt:lpstr>DANISH PUBLIC SECTOR – OVERALL VIEW</vt:lpstr>
      <vt:lpstr>WHY improve leadership?</vt:lpstr>
      <vt:lpstr>Program for leadership development (central government)</vt:lpstr>
      <vt:lpstr>The Direction of PLUS</vt:lpstr>
      <vt:lpstr> INSPIRATION: A New Synthesis of Public Administration </vt:lpstr>
      <vt:lpstr>Challenges - balances</vt:lpstr>
    </vt:vector>
  </TitlesOfParts>
  <Company>Statens 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oss-governmental leadership development</dc:title>
  <dc:creator>Trine Dahl</dc:creator>
  <cp:lastModifiedBy>Ivana Skovgaard</cp:lastModifiedBy>
  <cp:revision>19</cp:revision>
  <dcterms:created xsi:type="dcterms:W3CDTF">2017-06-18T07:19:20Z</dcterms:created>
  <dcterms:modified xsi:type="dcterms:W3CDTF">2017-06-21T15:2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com</vt:lpwstr>
  </property>
  <property fmtid="{D5CDD505-2E9C-101B-9397-08002B2CF9AE}" pid="3" name="SD_DocumentLanguageString">
    <vt:lpwstr>Dansk</vt:lpwstr>
  </property>
  <property fmtid="{D5CDD505-2E9C-101B-9397-08002B2CF9AE}" pid="4" name="SD_DocumentLanguage">
    <vt:lpwstr>da-DK</vt:lpwstr>
  </property>
  <property fmtid="{D5CDD505-2E9C-101B-9397-08002B2CF9AE}" pid="5" name="SD_UserprofileName">
    <vt:lpwstr/>
  </property>
  <property fmtid="{D5CDD505-2E9C-101B-9397-08002B2CF9AE}" pid="6" name="DocumentInfoFinished">
    <vt:lpwstr>True</vt:lpwstr>
  </property>
</Properties>
</file>